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jpeg" ContentType="image/jpeg"/>
  <Default Extension="JPG" ContentType="image/.jpg"/>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3"/>
  </p:sldMasterIdLst>
  <p:notesMasterIdLst>
    <p:notesMasterId r:id="rId8"/>
  </p:notesMasterIdLst>
  <p:sldIdLst>
    <p:sldId id="738" r:id="rId4"/>
    <p:sldId id="991" r:id="rId5"/>
    <p:sldId id="992" r:id="rId6"/>
    <p:sldId id="984" r:id="rId7"/>
    <p:sldId id="985" r:id="rId9"/>
    <p:sldId id="986" r:id="rId10"/>
    <p:sldId id="988" r:id="rId11"/>
    <p:sldId id="989" r:id="rId12"/>
    <p:sldId id="970" r:id="rId13"/>
    <p:sldId id="971" r:id="rId14"/>
    <p:sldId id="972" r:id="rId15"/>
    <p:sldId id="973" r:id="rId16"/>
    <p:sldId id="974" r:id="rId17"/>
    <p:sldId id="975" r:id="rId18"/>
    <p:sldId id="976" r:id="rId19"/>
    <p:sldId id="977" r:id="rId20"/>
    <p:sldId id="978" r:id="rId21"/>
    <p:sldId id="994" r:id="rId22"/>
    <p:sldId id="993" r:id="rId23"/>
    <p:sldId id="995" r:id="rId24"/>
    <p:sldId id="996" r:id="rId25"/>
    <p:sldId id="979" r:id="rId26"/>
    <p:sldId id="980" r:id="rId27"/>
    <p:sldId id="981" r:id="rId28"/>
    <p:sldId id="982" r:id="rId29"/>
    <p:sldId id="1016" r:id="rId30"/>
    <p:sldId id="1017" r:id="rId31"/>
    <p:sldId id="1018" r:id="rId32"/>
    <p:sldId id="1021" r:id="rId33"/>
    <p:sldId id="882" r:id="rId34"/>
  </p:sldIdLst>
  <p:sldSz cx="9144000" cy="5143500" type="screen16x9"/>
  <p:notesSz cx="6858000" cy="9144000"/>
  <p:custDataLst>
    <p:tags r:id="rId39"/>
  </p:custDataLst>
  <p:defaultTextStyle>
    <a:defPPr>
      <a:defRPr lang="zh-CN"/>
    </a:defPPr>
    <a:lvl1pPr marL="0" lvl="0" indent="0" algn="l" defTabSz="457200" eaLnBrk="1" fontAlgn="base" latinLnBrk="0" hangingPunct="1">
      <a:lnSpc>
        <a:spcPct val="100000"/>
      </a:lnSpc>
      <a:spcBef>
        <a:spcPct val="0"/>
      </a:spcBef>
      <a:spcAft>
        <a:spcPct val="0"/>
      </a:spcAft>
      <a:buFont typeface="Arial" panose="020B0604020202020204" pitchFamily="34" charset="0"/>
      <a:buNone/>
      <a:defRPr b="0" i="0" kern="1200" baseline="0">
        <a:solidFill>
          <a:schemeClr val="tx1"/>
        </a:solidFill>
        <a:latin typeface="Arial" panose="020B0604020202020204" pitchFamily="34" charset="0"/>
        <a:ea typeface="宋体" panose="02010600030101010101" pitchFamily="2" charset="-122"/>
        <a:cs typeface="+mn-cs"/>
      </a:defRPr>
    </a:lvl1pPr>
    <a:lvl2pPr marL="457200" lvl="1"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5pPr>
    <a:lvl6pPr marL="2286000" lvl="5"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6pPr>
    <a:lvl7pPr marL="2743200" lvl="6"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7pPr>
    <a:lvl8pPr marL="3200400" lvl="7"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8pPr>
    <a:lvl9pPr marL="3657600" lvl="8"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1606" userDrawn="1">
          <p15:clr>
            <a:srgbClr val="A4A3A4"/>
          </p15:clr>
        </p15:guide>
        <p15:guide id="2" pos="2880" userDrawn="1">
          <p15:clr>
            <a:srgbClr val="A4A3A4"/>
          </p15:clr>
        </p15:guide>
        <p15:guide id="1" orient="horz" pos="2726" userDrawn="1">
          <p15:clr>
            <a:srgbClr val="A4A3A4"/>
          </p15:clr>
        </p15:guide>
        <p15:guide id="2" orient="horz" pos="1407" userDrawn="1">
          <p15:clr>
            <a:srgbClr val="A4A3A4"/>
          </p15:clr>
        </p15:guide>
        <p15:guide id="3" orient="horz" pos="430" userDrawn="1">
          <p15:clr>
            <a:srgbClr val="A4A3A4"/>
          </p15:clr>
        </p15:guide>
        <p15:guide id="4" pos="275" userDrawn="1">
          <p15:clr>
            <a:srgbClr val="A4A3A4"/>
          </p15:clr>
        </p15:guide>
        <p15:guide id="5" pos="5514" userDrawn="1">
          <p15:clr>
            <a:srgbClr val="A4A3A4"/>
          </p15:clr>
        </p15:guide>
        <p15:guide id="6" pos="89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刘猛" initials="刘" lastIdx="0" clrIdx="0"/>
  <p:cmAuthor id="2" name="kingsoft" initials="k" lastIdx="1" clrIdx="0"/>
  <p:cmAuthor id="3" name="FYH" initials="F" lastIdx="10" clrIdx="1"/>
  <p:cmAuthor id="4" name="朱可然 Kevin ZHU" initials="朱" lastIdx="1" clrIdx="2"/>
  <p:cmAuthor id="5" name="作者" initials="作" lastIdx="0" clrIdx="24"/>
  <p:cmAuthor id="6" name="庞付娟" initials="庞" lastIdx="29" clrIdx="0"/>
  <p:cmAuthor id="7" name="za-huangziwei" initials="z" lastIdx="1" clrIdx="22"/>
  <p:cmAuthor id="8" name="未知用户35" initials="未" lastIdx="1" clrIdx="0"/>
  <p:cmAuthor id="9" name="未知用户25" initials="未" lastIdx="1" clrIdx="6"/>
  <p:cmAuthor id="10" name="未知用户16" initials="未" lastIdx="1" clrIdx="0"/>
  <p:cmAuthor id="11" name="冯 莎莎" initials="冯" lastIdx="1" clrIdx="25"/>
  <p:cmAuthor id="12" name="未知用户4" initials="未" lastIdx="1" clrIdx="0"/>
  <p:cmAuthor id="13" name="za-jijingting" initials="z" lastIdx="1" clrIdx="30"/>
  <p:cmAuthor id="14" name="未知用户5" initials="未" lastIdx="1" clrIdx="1"/>
  <p:cmAuthor id="15" name="Sicheng Wang" initials="S" lastIdx="21" clrIdx="31"/>
  <p:cmAuthor id="16" name="Veronica XU" initials="V" lastIdx="1" clrIdx="0"/>
  <p:cmAuthor id="17" name="未知用户6" initials="未" lastIdx="1" clrIdx="6"/>
  <p:cmAuthor id="18" name="未知用户14" initials="未" lastIdx="1" clrIdx="0"/>
  <p:cmAuthor id="19" name="未知用户7" initials="未" lastIdx="1" clrIdx="0"/>
  <p:cmAuthor id="20" name="未知用户10" initials="未" lastIdx="1" clrIdx="1"/>
  <p:cmAuthor id="21" name="未知用户8" initials="未" lastIdx="1" clrIdx="14"/>
  <p:cmAuthor id="22" name="未知用户15" initials="未" lastIdx="1" clrIdx="0"/>
  <p:cmAuthor id="23" name="Microsoft Office 用户" initials="M" lastIdx="0" clrIdx="6"/>
  <p:cmAuthor id="24" name="LuMeyer" initials="L" lastIdx="2" clrIdx="0"/>
  <p:cmAuthor id="25" name="hanwei" initials="h" lastIdx="1" clrIdx="15"/>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0008"/>
    <a:srgbClr val="888888"/>
    <a:srgbClr val="F1B960"/>
    <a:srgbClr val="F0CE8E"/>
    <a:srgbClr val="EBD3A3"/>
    <a:srgbClr val="FCAD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snapToObjects="1" showGuides="1">
      <p:cViewPr varScale="1">
        <p:scale>
          <a:sx n="124" d="100"/>
          <a:sy n="124" d="100"/>
        </p:scale>
        <p:origin x="700" y="72"/>
      </p:cViewPr>
      <p:guideLst>
        <p:guide orient="horz" pos="1606"/>
        <p:guide pos="2880"/>
        <p:guide orient="horz" pos="2726"/>
        <p:guide orient="horz" pos="1407"/>
        <p:guide orient="horz" pos="430"/>
        <p:guide pos="275"/>
        <p:guide pos="5514"/>
        <p:guide pos="898"/>
      </p:guideLst>
    </p:cSldViewPr>
  </p:slideViewPr>
  <p:notesTextViewPr>
    <p:cViewPr>
      <p:scale>
        <a:sx n="1" d="1"/>
        <a:sy n="1" d="1"/>
      </p:scale>
      <p:origin x="0" y="0"/>
    </p:cViewPr>
  </p:notesTextViewPr>
  <p:gridSpacing cx="72005" cy="72005"/>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notesMaster" Target="notesMasters/notesMaster1.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slide" Target="slides/slide1.xml"/><Relationship Id="rId39" Type="http://schemas.openxmlformats.org/officeDocument/2006/relationships/tags" Target="tags/tag227.xml"/><Relationship Id="rId38" Type="http://schemas.openxmlformats.org/officeDocument/2006/relationships/commentAuthors" Target="commentAuthors.xml"/><Relationship Id="rId37" Type="http://schemas.openxmlformats.org/officeDocument/2006/relationships/tableStyles" Target="tableStyles.xml"/><Relationship Id="rId36" Type="http://schemas.openxmlformats.org/officeDocument/2006/relationships/viewProps" Target="viewProps.xml"/><Relationship Id="rId35" Type="http://schemas.openxmlformats.org/officeDocument/2006/relationships/presProps" Target="presProps.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
        <p:nvSpPr>
          <p:cNvPr id="5122" name="页眉占位符 1"/>
          <p:cNvSpPr>
            <a:spLocks noGrp="1"/>
          </p:cNvSpPr>
          <p:nvPr>
            <p:ph type="hdr" sz="quarter"/>
          </p:nvPr>
        </p:nvSpPr>
        <p:spPr>
          <a:xfrm>
            <a:off x="0" y="0"/>
            <a:ext cx="2970213" cy="458788"/>
          </a:xfrm>
          <a:prstGeom prst="rect">
            <a:avLst/>
          </a:prstGeom>
          <a:noFill/>
          <a:ln w="9525">
            <a:noFill/>
          </a:ln>
        </p:spPr>
        <p:txBody>
          <a:bodyPr vert="horz" wrap="square" anchor="t" anchorCtr="0"/>
          <a:lstStyle/>
          <a:p>
            <a:pPr marL="0" lvl="0" indent="0" algn="l" eaLnBrk="1" fontAlgn="base" latinLnBrk="0" hangingPunct="1">
              <a:lnSpc>
                <a:spcPct val="100000"/>
              </a:lnSpc>
              <a:spcBef>
                <a:spcPct val="0"/>
              </a:spcBef>
              <a:spcAft>
                <a:spcPct val="0"/>
              </a:spcAft>
              <a:buFont typeface="Arial" panose="020B0604020202020204" pitchFamily="34" charset="0"/>
              <a:buNone/>
            </a:pPr>
          </a:p>
        </p:txBody>
      </p:sp>
      <p:sp>
        <p:nvSpPr>
          <p:cNvPr id="5123" name="日期占位符 2"/>
          <p:cNvSpPr>
            <a:spLocks noGrp="1"/>
          </p:cNvSpPr>
          <p:nvPr>
            <p:ph type="dt" idx="1"/>
          </p:nvPr>
        </p:nvSpPr>
        <p:spPr>
          <a:xfrm>
            <a:off x="3883025" y="0"/>
            <a:ext cx="2973388" cy="458788"/>
          </a:xfrm>
          <a:prstGeom prst="rect">
            <a:avLst/>
          </a:prstGeom>
          <a:noFill/>
          <a:ln w="9525">
            <a:noFill/>
          </a:ln>
        </p:spPr>
        <p:txBody>
          <a:bodyPr vert="horz" wrap="square" anchor="t" anchorCtr="0"/>
          <a:lstStyle/>
          <a:p>
            <a:pPr marL="0" lvl="0" indent="0" algn="r" eaLnBrk="1" fontAlgn="base" latinLnBrk="0" hangingPunct="1">
              <a:lnSpc>
                <a:spcPct val="100000"/>
              </a:lnSpc>
              <a:spcBef>
                <a:spcPct val="0"/>
              </a:spcBef>
              <a:spcAft>
                <a:spcPct val="0"/>
              </a:spcAft>
              <a:buFont typeface="Arial" panose="020B0604020202020204" pitchFamily="34" charset="0"/>
              <a:buNone/>
            </a:pPr>
            <a:fld id="{BB962C8B-B14F-4D97-AF65-F5344CB8AC3E}" type="datetime1">
              <a:rPr lang="zh-CN" altLang="en-US" sz="1800" b="1" i="1" baseline="0" dirty="0">
                <a:solidFill>
                  <a:schemeClr val="tx1"/>
                </a:solidFill>
                <a:latin typeface="Arial" panose="020B0604020202020204" pitchFamily="34" charset="0"/>
                <a:ea typeface="宋体" panose="02010600030101010101" pitchFamily="2" charset="-122"/>
                <a:sym typeface="Arial" panose="020B0604020202020204" pitchFamily="34" charset="0"/>
              </a:rPr>
            </a:fld>
            <a:endParaRPr lang="zh-CN" altLang="en-US" sz="1800" b="1" i="1" baseline="0" dirty="0">
              <a:solidFill>
                <a:schemeClr val="tx1"/>
              </a:solidFill>
              <a:latin typeface="Arial" panose="020B0604020202020204" pitchFamily="34" charset="0"/>
              <a:ea typeface="宋体" panose="02010600030101010101" pitchFamily="2" charset="-122"/>
              <a:sym typeface="Arial" panose="020B0604020202020204" pitchFamily="34" charset="0"/>
            </a:endParaRPr>
          </a:p>
        </p:txBody>
      </p:sp>
      <p:sp>
        <p:nvSpPr>
          <p:cNvPr id="5124" name="幻灯片图像占位符 3"/>
          <p:cNvSpPr>
            <a:spLocks noGrp="1" noRot="1" noChangeAspect="1"/>
          </p:cNvSpPr>
          <p:nvPr>
            <p:ph type="sldImg"/>
          </p:nvPr>
        </p:nvSpPr>
        <p:spPr>
          <a:xfrm>
            <a:off x="685800" y="1143000"/>
            <a:ext cx="5486400" cy="3086100"/>
          </a:xfrm>
          <a:prstGeom prst="rect">
            <a:avLst/>
          </a:prstGeom>
          <a:noFill/>
          <a:ln w="9525">
            <a:noFill/>
          </a:ln>
        </p:spPr>
      </p:sp>
      <p:sp>
        <p:nvSpPr>
          <p:cNvPr id="5125" name="备注占位符 4"/>
          <p:cNvSpPr>
            <a:spLocks noGrp="1" noRot="1" noChangeAspect="1"/>
          </p:cNvSpPr>
          <p:nvPr/>
        </p:nvSpPr>
        <p:spPr>
          <a:xfrm>
            <a:off x="685800" y="4400550"/>
            <a:ext cx="5486400" cy="3600450"/>
          </a:xfrm>
          <a:prstGeom prst="rect">
            <a:avLst/>
          </a:prstGeom>
          <a:noFill/>
          <a:ln w="9525">
            <a:noFill/>
          </a:ln>
        </p:spPr>
        <p:txBody>
          <a:bodyPr anchor="ctr" anchorCtr="0"/>
          <a:lstStyle/>
          <a:p>
            <a:pPr marL="0" lvl="0" indent="0" algn="l" eaLnBrk="0" fontAlgn="base" latinLnBrk="0" hangingPunct="0">
              <a:lnSpc>
                <a:spcPct val="100000"/>
              </a:lnSpc>
              <a:spcBef>
                <a:spcPct val="30000"/>
              </a:spcBef>
              <a:spcAft>
                <a:spcPct val="0"/>
              </a:spcAft>
              <a:buNone/>
            </a:pPr>
            <a:r>
              <a:rPr lang="zh-CN" altLang="en-US" sz="1200" b="1" i="1" baseline="0" dirty="0">
                <a:solidFill>
                  <a:schemeClr val="tx1"/>
                </a:solidFill>
                <a:latin typeface="Arial" panose="020B0604020202020204" pitchFamily="34" charset="0"/>
                <a:ea typeface="宋体" panose="02010600030101010101" pitchFamily="2" charset="-122"/>
                <a:sym typeface="Arial" panose="020B0604020202020204" pitchFamily="34" charset="0"/>
              </a:rPr>
              <a:t>单击此处编辑母版文本样式</a:t>
            </a:r>
            <a:endParaRPr lang="zh-CN" altLang="en-US" sz="1200" b="1" i="1" baseline="0" dirty="0">
              <a:solidFill>
                <a:schemeClr val="tx1"/>
              </a:solidFill>
              <a:latin typeface="Arial" panose="020B0604020202020204" pitchFamily="34" charset="0"/>
              <a:ea typeface="宋体" panose="02010600030101010101" pitchFamily="2" charset="-122"/>
              <a:sym typeface="Arial" panose="020B0604020202020204" pitchFamily="34" charset="0"/>
            </a:endParaRPr>
          </a:p>
          <a:p>
            <a:pPr marL="0" lvl="0" indent="0" algn="l" eaLnBrk="0" fontAlgn="base" latinLnBrk="0" hangingPunct="0">
              <a:lnSpc>
                <a:spcPct val="100000"/>
              </a:lnSpc>
              <a:spcBef>
                <a:spcPct val="30000"/>
              </a:spcBef>
              <a:spcAft>
                <a:spcPct val="0"/>
              </a:spcAft>
              <a:buNone/>
            </a:pPr>
            <a:r>
              <a:rPr lang="zh-CN" altLang="en-US" sz="1200" b="1" i="1" baseline="0" dirty="0">
                <a:solidFill>
                  <a:schemeClr val="tx1"/>
                </a:solidFill>
                <a:latin typeface="Arial" panose="020B0604020202020204" pitchFamily="34" charset="0"/>
                <a:ea typeface="宋体" panose="02010600030101010101" pitchFamily="2" charset="-122"/>
                <a:sym typeface="Arial" panose="020B0604020202020204" pitchFamily="34" charset="0"/>
              </a:rPr>
              <a:t>第二级</a:t>
            </a:r>
            <a:endParaRPr lang="zh-CN" altLang="en-US" sz="1200" b="1" i="1" baseline="0" dirty="0">
              <a:solidFill>
                <a:schemeClr val="tx1"/>
              </a:solidFill>
              <a:latin typeface="Arial" panose="020B0604020202020204" pitchFamily="34" charset="0"/>
              <a:ea typeface="宋体" panose="02010600030101010101" pitchFamily="2" charset="-122"/>
              <a:sym typeface="Arial" panose="020B0604020202020204" pitchFamily="34" charset="0"/>
            </a:endParaRPr>
          </a:p>
          <a:p>
            <a:pPr marL="0" lvl="0" indent="0" algn="l" eaLnBrk="0" fontAlgn="base" latinLnBrk="0" hangingPunct="0">
              <a:lnSpc>
                <a:spcPct val="100000"/>
              </a:lnSpc>
              <a:spcBef>
                <a:spcPct val="30000"/>
              </a:spcBef>
              <a:spcAft>
                <a:spcPct val="0"/>
              </a:spcAft>
              <a:buNone/>
            </a:pPr>
            <a:r>
              <a:rPr lang="zh-CN" altLang="en-US" sz="1200" b="1" i="1" baseline="0" dirty="0">
                <a:solidFill>
                  <a:schemeClr val="tx1"/>
                </a:solidFill>
                <a:latin typeface="Arial" panose="020B0604020202020204" pitchFamily="34" charset="0"/>
                <a:ea typeface="宋体" panose="02010600030101010101" pitchFamily="2" charset="-122"/>
                <a:sym typeface="Arial" panose="020B0604020202020204" pitchFamily="34" charset="0"/>
              </a:rPr>
              <a:t>第三级</a:t>
            </a:r>
            <a:endParaRPr lang="zh-CN" altLang="en-US" sz="1200" b="1" i="1" baseline="0" dirty="0">
              <a:solidFill>
                <a:schemeClr val="tx1"/>
              </a:solidFill>
              <a:latin typeface="Arial" panose="020B0604020202020204" pitchFamily="34" charset="0"/>
              <a:ea typeface="宋体" panose="02010600030101010101" pitchFamily="2" charset="-122"/>
              <a:sym typeface="Arial" panose="020B0604020202020204" pitchFamily="34" charset="0"/>
            </a:endParaRPr>
          </a:p>
          <a:p>
            <a:pPr marL="0" lvl="0" indent="0" algn="l" eaLnBrk="0" fontAlgn="base" latinLnBrk="0" hangingPunct="0">
              <a:lnSpc>
                <a:spcPct val="100000"/>
              </a:lnSpc>
              <a:spcBef>
                <a:spcPct val="30000"/>
              </a:spcBef>
              <a:spcAft>
                <a:spcPct val="0"/>
              </a:spcAft>
              <a:buNone/>
            </a:pPr>
            <a:r>
              <a:rPr lang="zh-CN" altLang="en-US" sz="1200" b="1" i="1" baseline="0" dirty="0">
                <a:solidFill>
                  <a:schemeClr val="tx1"/>
                </a:solidFill>
                <a:latin typeface="Arial" panose="020B0604020202020204" pitchFamily="34" charset="0"/>
                <a:ea typeface="宋体" panose="02010600030101010101" pitchFamily="2" charset="-122"/>
                <a:sym typeface="Arial" panose="020B0604020202020204" pitchFamily="34" charset="0"/>
              </a:rPr>
              <a:t>第四级</a:t>
            </a:r>
            <a:endParaRPr lang="zh-CN" altLang="en-US" sz="1200" b="1" i="1" baseline="0" dirty="0">
              <a:solidFill>
                <a:schemeClr val="tx1"/>
              </a:solidFill>
              <a:latin typeface="Arial" panose="020B0604020202020204" pitchFamily="34" charset="0"/>
              <a:ea typeface="宋体" panose="02010600030101010101" pitchFamily="2" charset="-122"/>
              <a:sym typeface="Arial" panose="020B0604020202020204" pitchFamily="34" charset="0"/>
            </a:endParaRPr>
          </a:p>
          <a:p>
            <a:pPr marL="0" lvl="0" indent="0" algn="l" eaLnBrk="0" fontAlgn="base" latinLnBrk="0" hangingPunct="0">
              <a:lnSpc>
                <a:spcPct val="100000"/>
              </a:lnSpc>
              <a:spcBef>
                <a:spcPct val="30000"/>
              </a:spcBef>
              <a:spcAft>
                <a:spcPct val="0"/>
              </a:spcAft>
              <a:buNone/>
            </a:pPr>
            <a:r>
              <a:rPr lang="zh-CN" altLang="en-US" sz="1200" b="1" i="1" baseline="0" dirty="0">
                <a:solidFill>
                  <a:schemeClr val="tx1"/>
                </a:solidFill>
                <a:latin typeface="Arial" panose="020B0604020202020204" pitchFamily="34" charset="0"/>
                <a:ea typeface="宋体" panose="02010600030101010101" pitchFamily="2" charset="-122"/>
                <a:sym typeface="Arial" panose="020B0604020202020204" pitchFamily="34" charset="0"/>
              </a:rPr>
              <a:t>第五级</a:t>
            </a:r>
            <a:endParaRPr lang="zh-CN" altLang="en-US" sz="1200" b="1" i="1" baseline="0" dirty="0">
              <a:solidFill>
                <a:schemeClr val="tx1"/>
              </a:solidFill>
              <a:latin typeface="Arial" panose="020B0604020202020204" pitchFamily="34" charset="0"/>
              <a:ea typeface="宋体" panose="02010600030101010101" pitchFamily="2" charset="-122"/>
              <a:sym typeface="Arial" panose="020B0604020202020204" pitchFamily="34" charset="0"/>
            </a:endParaRPr>
          </a:p>
        </p:txBody>
      </p:sp>
      <p:sp>
        <p:nvSpPr>
          <p:cNvPr id="5126" name="页脚占位符 5"/>
          <p:cNvSpPr>
            <a:spLocks noGrp="1"/>
          </p:cNvSpPr>
          <p:nvPr>
            <p:ph type="ftr" sz="quarter" idx="4"/>
          </p:nvPr>
        </p:nvSpPr>
        <p:spPr>
          <a:xfrm>
            <a:off x="0" y="8685213"/>
            <a:ext cx="2970213" cy="458787"/>
          </a:xfrm>
          <a:prstGeom prst="rect">
            <a:avLst/>
          </a:prstGeom>
          <a:noFill/>
          <a:ln w="9525">
            <a:noFill/>
          </a:ln>
        </p:spPr>
        <p:txBody>
          <a:bodyPr vert="horz" wrap="square" anchor="b" anchorCtr="0"/>
          <a:lstStyle/>
          <a:p>
            <a:pPr marL="0" lvl="0" indent="0" algn="l" eaLnBrk="1" fontAlgn="base" latinLnBrk="0" hangingPunct="1">
              <a:lnSpc>
                <a:spcPct val="100000"/>
              </a:lnSpc>
              <a:spcBef>
                <a:spcPct val="0"/>
              </a:spcBef>
              <a:spcAft>
                <a:spcPct val="0"/>
              </a:spcAft>
              <a:buFont typeface="Arial" panose="020B0604020202020204" pitchFamily="34" charset="0"/>
              <a:buNone/>
            </a:pPr>
            <a:endParaRPr sz="1200" b="1" i="1" baseline="0">
              <a:solidFill>
                <a:schemeClr val="tx1"/>
              </a:solidFill>
              <a:latin typeface="Arial" panose="020B0604020202020204" pitchFamily="34" charset="0"/>
              <a:ea typeface="宋体" panose="02010600030101010101" pitchFamily="2" charset="-122"/>
              <a:sym typeface="Arial" panose="020B0604020202020204" pitchFamily="34" charset="0"/>
            </a:endParaRPr>
          </a:p>
        </p:txBody>
      </p:sp>
      <p:sp>
        <p:nvSpPr>
          <p:cNvPr id="5127" name="灯片编号占位符 6"/>
          <p:cNvSpPr>
            <a:spLocks noGrp="1"/>
          </p:cNvSpPr>
          <p:nvPr>
            <p:ph type="sldNum" sz="quarter" idx="5"/>
          </p:nvPr>
        </p:nvSpPr>
        <p:spPr>
          <a:xfrm>
            <a:off x="3883025" y="8685213"/>
            <a:ext cx="2973388" cy="458787"/>
          </a:xfrm>
          <a:prstGeom prst="rect">
            <a:avLst/>
          </a:prstGeom>
          <a:noFill/>
          <a:ln w="9525">
            <a:noFill/>
          </a:ln>
        </p:spPr>
        <p:txBody>
          <a:bodyPr vert="horz" wrap="square" anchor="b" anchorCtr="0"/>
          <a:lstStyle/>
          <a:p>
            <a:pPr lvl="0" algn="r" eaLnBrk="1" fontAlgn="base" hangingPunct="1"/>
            <a:fld id="{9A0DB2DC-4C9A-4742-B13C-FB6460FD3503}" type="slidenum">
              <a:rPr lang="zh-CN" altLang="en-US" dirty="0">
                <a:latin typeface="Arial" panose="020B0604020202020204" pitchFamily="34" charset="0"/>
                <a:ea typeface="宋体" panose="02010600030101010101" pitchFamily="2" charset="-122"/>
                <a:sym typeface="Arial" panose="020B0604020202020204" pitchFamily="34" charset="0"/>
              </a:rPr>
            </a:fld>
            <a:endParaRPr lang="zh-CN" altLang="en-US" sz="1200" dirty="0">
              <a:latin typeface="Arial" panose="020B0604020202020204" pitchFamily="34" charset="0"/>
              <a:ea typeface="宋体" panose="02010600030101010101" pitchFamily="2" charset="-122"/>
              <a:sym typeface="Arial" panose="020B0604020202020204" pitchFamily="34" charset="0"/>
            </a:endParaRPr>
          </a:p>
        </p:txBody>
      </p:sp>
    </p:spTree>
  </p:cSld>
  <p:clrMap bg1="lt1" tx1="dk1" bg2="lt2" tx2="dk2" accent1="accent1" accent2="accent2" accent3="accent3" accent4="accent4" accent5="accent5" accent6="accent6" hlink="hlink" folHlink="folHlink"/>
  <p:hf hdr="0" ftr="0" dt="0"/>
  <p:notesStyle>
    <a:lvl1pPr lvl="0" defTabSz="0" fontAlgn="base">
      <a:defRPr sz="1200" kern="1200"/>
    </a:lvl1pPr>
    <a:lvl2pPr marL="0" lvl="1" indent="0" defTabSz="0" fontAlgn="base">
      <a:defRPr sz="1200" kern="1200"/>
    </a:lvl2pPr>
    <a:lvl3pPr marL="0" lvl="2" indent="0" defTabSz="0" fontAlgn="base">
      <a:defRPr sz="1200" kern="1200"/>
    </a:lvl3pPr>
    <a:lvl4pPr marL="0" lvl="3" indent="0" defTabSz="0" fontAlgn="base">
      <a:defRPr sz="1200" kern="1200"/>
    </a:lvl4pPr>
    <a:lvl5pPr marL="0" lvl="4" indent="0" defTabSz="0" fontAlgn="base">
      <a:defRPr sz="1200" kern="1200"/>
    </a:lvl5pPr>
    <a:lvl6pPr marL="2286000" lvl="5" indent="0" defTabSz="0" fontAlgn="base">
      <a:defRPr sz="1200" kern="1200"/>
    </a:lvl6pPr>
    <a:lvl7pPr marL="2743200" lvl="6" indent="0" defTabSz="0" fontAlgn="base">
      <a:defRPr sz="1200" kern="1200"/>
    </a:lvl7pPr>
    <a:lvl8pPr marL="3200400" lvl="7" indent="0" defTabSz="0" fontAlgn="base">
      <a:defRPr sz="1200" kern="1200"/>
    </a:lvl8pPr>
    <a:lvl9pPr marL="3657600" lvl="8" indent="0" defTabSz="0" fontAlgn="base">
      <a:defRPr sz="1200" kern="1200"/>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062422E9-EF03-4CF5-A1B7-87FDC4ADDF59}"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062422E9-EF03-4CF5-A1B7-87FDC4ADDF59}"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062422E9-EF03-4CF5-A1B7-87FDC4ADDF59}"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062422E9-EF03-4CF5-A1B7-87FDC4ADDF59}"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062422E9-EF03-4CF5-A1B7-87FDC4ADDF59}"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p:nvPr>
        </p:nvSpPr>
        <p:spPr/>
      </p:sp>
      <p:sp>
        <p:nvSpPr>
          <p:cNvPr id="3" name="灯片编号占位符 2"/>
          <p:cNvSpPr>
            <a:spLocks noGrp="1"/>
          </p:cNvSpPr>
          <p:nvPr>
            <p:ph type="sldNum" sz="quarter" idx="5"/>
          </p:nvPr>
        </p:nvSpPr>
        <p:spPr/>
        <p:txBody>
          <a:bodyPr/>
          <a:p>
            <a:pPr lvl="0" algn="r" eaLnBrk="1" fontAlgn="base" hangingPunct="1"/>
            <a:fld id="{9A0DB2DC-4C9A-4742-B13C-FB6460FD3503}" type="slidenum">
              <a:rPr lang="zh-CN" altLang="en-US" dirty="0">
                <a:latin typeface="Arial" panose="020B0604020202020204" pitchFamily="34" charset="0"/>
                <a:ea typeface="宋体" panose="02010600030101010101" pitchFamily="2" charset="-122"/>
                <a:sym typeface="Arial" panose="020B0604020202020204" pitchFamily="34" charset="0"/>
              </a:rPr>
            </a:fld>
            <a:endParaRPr lang="zh-CN" altLang="en-US" sz="1200" dirty="0">
              <a:latin typeface="Arial" panose="020B0604020202020204" pitchFamily="34" charset="0"/>
              <a:ea typeface="宋体" panose="02010600030101010101" pitchFamily="2" charset="-122"/>
              <a:sym typeface="Arial" panose="020B0604020202020204" pitchFamily="34" charset="0"/>
            </a:endParaRPr>
          </a:p>
        </p:txBody>
      </p:sp>
      <p:sp>
        <p:nvSpPr>
          <p:cNvPr id="4" name="文本占位符 3"/>
          <p:cNvSpPr>
            <a:spLocks noGrp="1"/>
          </p:cNvSpPr>
          <p:nvPr>
            <p:ph type="body" sz="quarter"/>
          </p:nvPr>
        </p:nvSpPr>
        <p:spPr>
          <a:xfrm>
            <a:off x="662016" y="3931500"/>
            <a:ext cx="5296132" cy="3216682"/>
          </a:xfrm>
          <a:prstGeom prst="rect">
            <a:avLst/>
          </a:prstGeom>
        </p:spPr>
        <p:txBody>
          <a:bodyPr/>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p:nvPr>
        </p:nvSpPr>
        <p:spPr/>
      </p:sp>
      <p:sp>
        <p:nvSpPr>
          <p:cNvPr id="3" name="灯片编号占位符 2"/>
          <p:cNvSpPr>
            <a:spLocks noGrp="1"/>
          </p:cNvSpPr>
          <p:nvPr>
            <p:ph type="sldNum" sz="quarter" idx="5"/>
          </p:nvPr>
        </p:nvSpPr>
        <p:spPr/>
        <p:txBody>
          <a:bodyPr/>
          <a:p>
            <a:pPr lvl="0" algn="r" eaLnBrk="1" fontAlgn="base" hangingPunct="1"/>
            <a:fld id="{9A0DB2DC-4C9A-4742-B13C-FB6460FD3503}" type="slidenum">
              <a:rPr lang="zh-CN" altLang="en-US" dirty="0">
                <a:latin typeface="Arial" panose="020B0604020202020204" pitchFamily="34" charset="0"/>
                <a:ea typeface="宋体" panose="02010600030101010101" pitchFamily="2" charset="-122"/>
                <a:sym typeface="Arial" panose="020B0604020202020204" pitchFamily="34" charset="0"/>
              </a:rPr>
            </a:fld>
            <a:endParaRPr lang="zh-CN" altLang="en-US" sz="1200" dirty="0">
              <a:latin typeface="Arial" panose="020B0604020202020204" pitchFamily="34" charset="0"/>
              <a:ea typeface="宋体" panose="02010600030101010101" pitchFamily="2" charset="-122"/>
              <a:sym typeface="Arial" panose="020B0604020202020204" pitchFamily="34" charset="0"/>
            </a:endParaRPr>
          </a:p>
        </p:txBody>
      </p:sp>
      <p:sp>
        <p:nvSpPr>
          <p:cNvPr id="4" name="文本占位符 3"/>
          <p:cNvSpPr>
            <a:spLocks noGrp="1"/>
          </p:cNvSpPr>
          <p:nvPr>
            <p:ph type="body" sz="quarter"/>
          </p:nvPr>
        </p:nvSpPr>
        <p:spPr>
          <a:xfrm>
            <a:off x="662016" y="3931500"/>
            <a:ext cx="5296132" cy="3216682"/>
          </a:xfrm>
          <a:prstGeom prst="rect">
            <a:avLst/>
          </a:prstGeom>
        </p:spPr>
        <p:txBody>
          <a:bodyPr/>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p:nvPr>
        </p:nvSpPr>
        <p:spPr/>
      </p:sp>
      <p:sp>
        <p:nvSpPr>
          <p:cNvPr id="3" name="灯片编号占位符 2"/>
          <p:cNvSpPr>
            <a:spLocks noGrp="1"/>
          </p:cNvSpPr>
          <p:nvPr>
            <p:ph type="sldNum" sz="quarter" idx="5"/>
          </p:nvPr>
        </p:nvSpPr>
        <p:spPr/>
        <p:txBody>
          <a:bodyPr/>
          <a:p>
            <a:pPr lvl="0" algn="r" eaLnBrk="1" fontAlgn="base" hangingPunct="1"/>
            <a:fld id="{9A0DB2DC-4C9A-4742-B13C-FB6460FD3503}" type="slidenum">
              <a:rPr lang="zh-CN" altLang="en-US" dirty="0">
                <a:latin typeface="Arial" panose="020B0604020202020204" pitchFamily="34" charset="0"/>
                <a:ea typeface="宋体" panose="02010600030101010101" pitchFamily="2" charset="-122"/>
                <a:sym typeface="Arial" panose="020B0604020202020204" pitchFamily="34" charset="0"/>
              </a:rPr>
            </a:fld>
            <a:endParaRPr lang="zh-CN" altLang="en-US" sz="1200" dirty="0">
              <a:latin typeface="Arial" panose="020B0604020202020204" pitchFamily="34" charset="0"/>
              <a:ea typeface="宋体" panose="02010600030101010101" pitchFamily="2" charset="-122"/>
              <a:sym typeface="Arial" panose="020B0604020202020204" pitchFamily="34" charset="0"/>
            </a:endParaRPr>
          </a:p>
        </p:txBody>
      </p:sp>
      <p:sp>
        <p:nvSpPr>
          <p:cNvPr id="4" name="文本占位符 3"/>
          <p:cNvSpPr>
            <a:spLocks noGrp="1"/>
          </p:cNvSpPr>
          <p:nvPr>
            <p:ph type="body" sz="quarter"/>
          </p:nvPr>
        </p:nvSpPr>
        <p:spPr>
          <a:xfrm>
            <a:off x="662016" y="3931500"/>
            <a:ext cx="5296132" cy="3216682"/>
          </a:xfrm>
          <a:prstGeom prst="rect">
            <a:avLst/>
          </a:prstGeom>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841772"/>
            <a:ext cx="6858000" cy="1790700"/>
          </a:xfrm>
          <a:prstGeom prst="rect">
            <a:avLst/>
          </a:prstGeom>
        </p:spPr>
        <p:txBody>
          <a:bodyPr anchor="b"/>
          <a:lstStyle>
            <a:lvl1pPr algn="ctr">
              <a:defRPr sz="4500"/>
            </a:lvl1pPr>
          </a:lstStyle>
          <a:p>
            <a:r>
              <a:rPr lang="zh-CN" altLang="en-US" dirty="0"/>
              <a:t>单击此处编辑母版标题样式</a:t>
            </a:r>
            <a:endParaRPr lang="zh-CN" altLang="en-US" dirty="0"/>
          </a:p>
        </p:txBody>
      </p:sp>
      <p:sp>
        <p:nvSpPr>
          <p:cNvPr id="3" name="副标题 2"/>
          <p:cNvSpPr>
            <a:spLocks noGrp="1"/>
          </p:cNvSpPr>
          <p:nvPr>
            <p:ph type="subTitle" idx="1"/>
          </p:nvPr>
        </p:nvSpPr>
        <p:spPr>
          <a:xfrm>
            <a:off x="1143000" y="2701529"/>
            <a:ext cx="6858000" cy="124182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955"/>
            <a:ext cx="8229600" cy="1143000"/>
          </a:xfrm>
          <a:prstGeom prst="rect">
            <a:avLst/>
          </a:prstGeom>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457200" y="1600200"/>
            <a:ext cx="8229600" cy="4526280"/>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273844"/>
            <a:ext cx="1971675" cy="4358879"/>
          </a:xfrm>
          <a:prstGeom prst="rect">
            <a:avLst/>
          </a:prstGeo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628650" y="273844"/>
            <a:ext cx="5800725" cy="4358879"/>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143000" y="2701529"/>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5" name="页脚占位符 4"/>
          <p:cNvSpPr>
            <a:spLocks noGrp="1"/>
          </p:cNvSpPr>
          <p:nvPr>
            <p:ph type="ftr" sz="quarter" idx="11"/>
          </p:nvPr>
        </p:nvSpPr>
        <p:spPr/>
        <p:txBody>
          <a:bodyPr/>
          <a:lstStyle/>
          <a:p>
            <a:pPr lvl="0"/>
            <a:endParaRPr>
              <a:sym typeface="Arial" panose="020B0604020202020204" pitchFamily="34" charset="0"/>
            </a:endParaRPr>
          </a:p>
        </p:txBody>
      </p:sp>
      <p:sp>
        <p:nvSpPr>
          <p:cNvPr id="6" name="灯片编号占位符 5"/>
          <p:cNvSpPr>
            <a:spLocks noGrp="1"/>
          </p:cNvSpPr>
          <p:nvPr>
            <p:ph type="sldNum" sz="quarter" idx="12"/>
          </p:nvPr>
        </p:nvSpPr>
        <p:spPr/>
        <p:txBody>
          <a:body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5" name="页脚占位符 4"/>
          <p:cNvSpPr>
            <a:spLocks noGrp="1"/>
          </p:cNvSpPr>
          <p:nvPr>
            <p:ph type="ftr" sz="quarter" idx="11"/>
          </p:nvPr>
        </p:nvSpPr>
        <p:spPr/>
        <p:txBody>
          <a:bodyPr/>
          <a:lstStyle/>
          <a:p>
            <a:pPr lvl="0"/>
            <a:endParaRPr>
              <a:sym typeface="Arial" panose="020B0604020202020204" pitchFamily="34" charset="0"/>
            </a:endParaRPr>
          </a:p>
        </p:txBody>
      </p:sp>
      <p:sp>
        <p:nvSpPr>
          <p:cNvPr id="6" name="灯片编号占位符 5"/>
          <p:cNvSpPr>
            <a:spLocks noGrp="1"/>
          </p:cNvSpPr>
          <p:nvPr>
            <p:ph type="sldNum" sz="quarter" idx="12"/>
          </p:nvPr>
        </p:nvSpPr>
        <p:spPr/>
        <p:txBody>
          <a:body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623888" y="3442097"/>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5" name="页脚占位符 4"/>
          <p:cNvSpPr>
            <a:spLocks noGrp="1"/>
          </p:cNvSpPr>
          <p:nvPr>
            <p:ph type="ftr" sz="quarter" idx="11"/>
          </p:nvPr>
        </p:nvSpPr>
        <p:spPr/>
        <p:txBody>
          <a:bodyPr/>
          <a:lstStyle/>
          <a:p>
            <a:pPr lvl="0"/>
            <a:endParaRPr>
              <a:sym typeface="Arial" panose="020B0604020202020204" pitchFamily="34" charset="0"/>
            </a:endParaRPr>
          </a:p>
        </p:txBody>
      </p:sp>
      <p:sp>
        <p:nvSpPr>
          <p:cNvPr id="6" name="灯片编号占位符 5"/>
          <p:cNvSpPr>
            <a:spLocks noGrp="1"/>
          </p:cNvSpPr>
          <p:nvPr>
            <p:ph type="sldNum" sz="quarter" idx="12"/>
          </p:nvPr>
        </p:nvSpPr>
        <p:spPr/>
        <p:txBody>
          <a:body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501650" y="720725"/>
            <a:ext cx="3988943" cy="4041775"/>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4653407" y="720725"/>
            <a:ext cx="3988943" cy="4041775"/>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6" name="页脚占位符 5"/>
          <p:cNvSpPr>
            <a:spLocks noGrp="1"/>
          </p:cNvSpPr>
          <p:nvPr>
            <p:ph type="ftr" sz="quarter" idx="11"/>
          </p:nvPr>
        </p:nvSpPr>
        <p:spPr/>
        <p:txBody>
          <a:bodyPr/>
          <a:lstStyle/>
          <a:p>
            <a:pPr lvl="0"/>
            <a:endParaRPr>
              <a:sym typeface="Arial" panose="020B0604020202020204" pitchFamily="34" charset="0"/>
            </a:endParaRPr>
          </a:p>
        </p:txBody>
      </p:sp>
      <p:sp>
        <p:nvSpPr>
          <p:cNvPr id="7" name="灯片编号占位符 6"/>
          <p:cNvSpPr>
            <a:spLocks noGrp="1"/>
          </p:cNvSpPr>
          <p:nvPr>
            <p:ph type="sldNum" sz="quarter" idx="12"/>
          </p:nvPr>
        </p:nvSpPr>
        <p:spPr/>
        <p:txBody>
          <a:body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841" y="273844"/>
            <a:ext cx="7886700" cy="994172"/>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90081" y="1333829"/>
            <a:ext cx="3655181" cy="617934"/>
          </a:xfrm>
        </p:spPr>
        <p:txBody>
          <a:bodyPr anchor="ctr" anchorCtr="0"/>
          <a:lstStyle>
            <a:lvl1pPr marL="0" indent="0">
              <a:buNone/>
              <a:defRPr sz="2100"/>
            </a:lvl1pPr>
            <a:lvl2pPr marL="342900" indent="0">
              <a:buNone/>
              <a:defRPr sz="1800"/>
            </a:lvl2pPr>
            <a:lvl3pPr marL="685800" indent="0">
              <a:buNone/>
              <a:defRPr sz="1500"/>
            </a:lvl3pPr>
            <a:lvl4pPr marL="1028700" indent="0">
              <a:buNone/>
              <a:defRPr sz="1350"/>
            </a:lvl4pPr>
            <a:lvl5pPr marL="1371600" indent="0">
              <a:buNone/>
              <a:defRPr sz="1350"/>
            </a:lvl5pPr>
            <a:lvl6pPr marL="1714500" indent="0">
              <a:buNone/>
              <a:defRPr sz="1350"/>
            </a:lvl6pPr>
            <a:lvl7pPr marL="2057400" indent="0">
              <a:buNone/>
              <a:defRPr sz="1350"/>
            </a:lvl7pPr>
            <a:lvl8pPr marL="2400300" indent="0">
              <a:buNone/>
              <a:defRPr sz="1350"/>
            </a:lvl8pPr>
            <a:lvl9pPr marL="2743200" indent="0">
              <a:buNone/>
              <a:defRPr sz="1350"/>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90081" y="1999034"/>
            <a:ext cx="3655181" cy="2643213"/>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4692704" y="1333829"/>
            <a:ext cx="3673182" cy="617934"/>
          </a:xfrm>
        </p:spPr>
        <p:txBody>
          <a:bodyPr anchor="ctr" anchorCtr="0"/>
          <a:lstStyle>
            <a:lvl1pPr marL="0" indent="0">
              <a:buNone/>
              <a:defRPr sz="2100"/>
            </a:lvl1pPr>
            <a:lvl2pPr marL="342900" indent="0">
              <a:buNone/>
              <a:defRPr sz="1800"/>
            </a:lvl2pPr>
            <a:lvl3pPr marL="685800" indent="0">
              <a:buNone/>
              <a:defRPr sz="1500"/>
            </a:lvl3pPr>
            <a:lvl4pPr marL="1028700" indent="0">
              <a:buNone/>
              <a:defRPr sz="1350"/>
            </a:lvl4pPr>
            <a:lvl5pPr marL="1371600" indent="0">
              <a:buNone/>
              <a:defRPr sz="1350"/>
            </a:lvl5pPr>
            <a:lvl6pPr marL="1714500" indent="0">
              <a:buNone/>
              <a:defRPr sz="1350"/>
            </a:lvl6pPr>
            <a:lvl7pPr marL="2057400" indent="0">
              <a:buNone/>
              <a:defRPr sz="1350"/>
            </a:lvl7pPr>
            <a:lvl8pPr marL="2400300" indent="0">
              <a:buNone/>
              <a:defRPr sz="1350"/>
            </a:lvl8pPr>
            <a:lvl9pPr marL="2743200" indent="0">
              <a:buNone/>
              <a:defRPr sz="1350"/>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4692704" y="1999034"/>
            <a:ext cx="3673182" cy="2643213"/>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8" name="页脚占位符 7"/>
          <p:cNvSpPr>
            <a:spLocks noGrp="1"/>
          </p:cNvSpPr>
          <p:nvPr>
            <p:ph type="ftr" sz="quarter" idx="11"/>
          </p:nvPr>
        </p:nvSpPr>
        <p:spPr/>
        <p:txBody>
          <a:bodyPr/>
          <a:lstStyle/>
          <a:p>
            <a:pPr lvl="0"/>
            <a:endParaRPr>
              <a:sym typeface="Arial" panose="020B0604020202020204" pitchFamily="34" charset="0"/>
            </a:endParaRPr>
          </a:p>
        </p:txBody>
      </p:sp>
      <p:sp>
        <p:nvSpPr>
          <p:cNvPr id="9" name="灯片编号占位符 8"/>
          <p:cNvSpPr>
            <a:spLocks noGrp="1"/>
          </p:cNvSpPr>
          <p:nvPr>
            <p:ph type="sldNum" sz="quarter" idx="12"/>
          </p:nvPr>
        </p:nvSpPr>
        <p:spPr/>
        <p:txBody>
          <a:body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4" name="页脚占位符 3"/>
          <p:cNvSpPr>
            <a:spLocks noGrp="1"/>
          </p:cNvSpPr>
          <p:nvPr>
            <p:ph type="ftr" sz="quarter" idx="11"/>
          </p:nvPr>
        </p:nvSpPr>
        <p:spPr/>
        <p:txBody>
          <a:bodyPr/>
          <a:lstStyle/>
          <a:p>
            <a:pPr lvl="0"/>
            <a:endParaRPr>
              <a:sym typeface="Arial" panose="020B0604020202020204" pitchFamily="34" charset="0"/>
            </a:endParaRPr>
          </a:p>
        </p:txBody>
      </p:sp>
      <p:sp>
        <p:nvSpPr>
          <p:cNvPr id="5" name="灯片编号占位符 4"/>
          <p:cNvSpPr>
            <a:spLocks noGrp="1"/>
          </p:cNvSpPr>
          <p:nvPr>
            <p:ph type="sldNum" sz="quarter" idx="12"/>
          </p:nvPr>
        </p:nvSpPr>
        <p:spPr/>
        <p:txBody>
          <a:body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3" name="页脚占位符 2"/>
          <p:cNvSpPr>
            <a:spLocks noGrp="1"/>
          </p:cNvSpPr>
          <p:nvPr>
            <p:ph type="ftr" sz="quarter" idx="11"/>
          </p:nvPr>
        </p:nvSpPr>
        <p:spPr/>
        <p:txBody>
          <a:bodyPr/>
          <a:lstStyle/>
          <a:p>
            <a:pPr lvl="0"/>
            <a:endParaRPr>
              <a:sym typeface="Arial" panose="020B0604020202020204" pitchFamily="34" charset="0"/>
            </a:endParaRPr>
          </a:p>
        </p:txBody>
      </p:sp>
      <p:sp>
        <p:nvSpPr>
          <p:cNvPr id="4" name="灯片编号占位符 3"/>
          <p:cNvSpPr>
            <a:spLocks noGrp="1"/>
          </p:cNvSpPr>
          <p:nvPr>
            <p:ph type="sldNum" sz="quarter" idx="12"/>
          </p:nvPr>
        </p:nvSpPr>
        <p:spPr/>
        <p:txBody>
          <a:body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zh-CN" altLang="en-US"/>
          </a:p>
        </p:txBody>
      </p:sp>
      <p:sp>
        <p:nvSpPr>
          <p:cNvPr id="3" name="内容占位符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6" name="页脚占位符 5"/>
          <p:cNvSpPr>
            <a:spLocks noGrp="1"/>
          </p:cNvSpPr>
          <p:nvPr>
            <p:ph type="ftr" sz="quarter" idx="11"/>
          </p:nvPr>
        </p:nvSpPr>
        <p:spPr/>
        <p:txBody>
          <a:bodyPr/>
          <a:lstStyle/>
          <a:p>
            <a:pPr lvl="0"/>
            <a:endParaRPr>
              <a:sym typeface="Arial" panose="020B0604020202020204" pitchFamily="34" charset="0"/>
            </a:endParaRPr>
          </a:p>
        </p:txBody>
      </p:sp>
      <p:sp>
        <p:nvSpPr>
          <p:cNvPr id="7" name="灯片编号占位符 6"/>
          <p:cNvSpPr>
            <a:spLocks noGrp="1"/>
          </p:cNvSpPr>
          <p:nvPr>
            <p:ph type="sldNum" sz="quarter" idx="12"/>
          </p:nvPr>
        </p:nvSpPr>
        <p:spPr/>
        <p:txBody>
          <a:body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955"/>
            <a:ext cx="8229600" cy="114300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457200" y="1600200"/>
            <a:ext cx="8229600" cy="4526280"/>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3124012" cy="1200150"/>
          </a:xfrm>
        </p:spPr>
        <p:txBody>
          <a:bodyPr anchor="b"/>
          <a:lstStyle>
            <a:lvl1pPr>
              <a:defRPr sz="24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3887391" y="342901"/>
            <a:ext cx="4629150" cy="4052888"/>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p:cNvSpPr>
            <a:spLocks noGrp="1"/>
          </p:cNvSpPr>
          <p:nvPr>
            <p:ph type="body" sz="half" idx="2"/>
          </p:nvPr>
        </p:nvSpPr>
        <p:spPr>
          <a:xfrm>
            <a:off x="629841" y="1543050"/>
            <a:ext cx="3124012" cy="2858691"/>
          </a:xfrm>
        </p:spPr>
        <p:txBody>
          <a:bodyPr/>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6" name="页脚占位符 5"/>
          <p:cNvSpPr>
            <a:spLocks noGrp="1"/>
          </p:cNvSpPr>
          <p:nvPr>
            <p:ph type="ftr" sz="quarter" idx="11"/>
          </p:nvPr>
        </p:nvSpPr>
        <p:spPr/>
        <p:txBody>
          <a:bodyPr/>
          <a:lstStyle/>
          <a:p>
            <a:pPr lvl="0"/>
            <a:endParaRPr>
              <a:sym typeface="Arial" panose="020B0604020202020204" pitchFamily="34" charset="0"/>
            </a:endParaRPr>
          </a:p>
        </p:txBody>
      </p:sp>
      <p:sp>
        <p:nvSpPr>
          <p:cNvPr id="7" name="灯片编号占位符 6"/>
          <p:cNvSpPr>
            <a:spLocks noGrp="1"/>
          </p:cNvSpPr>
          <p:nvPr>
            <p:ph type="sldNum" sz="quarter" idx="12"/>
          </p:nvPr>
        </p:nvSpPr>
        <p:spPr/>
        <p:txBody>
          <a:body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5" name="页脚占位符 4"/>
          <p:cNvSpPr>
            <a:spLocks noGrp="1"/>
          </p:cNvSpPr>
          <p:nvPr>
            <p:ph type="ftr" sz="quarter" idx="11"/>
          </p:nvPr>
        </p:nvSpPr>
        <p:spPr/>
        <p:txBody>
          <a:bodyPr/>
          <a:lstStyle/>
          <a:p>
            <a:pPr lvl="0"/>
            <a:endParaRPr>
              <a:sym typeface="Arial" panose="020B0604020202020204" pitchFamily="34" charset="0"/>
            </a:endParaRPr>
          </a:p>
        </p:txBody>
      </p:sp>
      <p:sp>
        <p:nvSpPr>
          <p:cNvPr id="6" name="灯片编号占位符 5"/>
          <p:cNvSpPr>
            <a:spLocks noGrp="1"/>
          </p:cNvSpPr>
          <p:nvPr>
            <p:ph type="sldNum" sz="quarter" idx="12"/>
          </p:nvPr>
        </p:nvSpPr>
        <p:spPr/>
        <p:txBody>
          <a:body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07175" y="333375"/>
            <a:ext cx="2035175" cy="4429125"/>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501650" y="333375"/>
            <a:ext cx="5987544" cy="4429125"/>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5" name="页脚占位符 4"/>
          <p:cNvSpPr>
            <a:spLocks noGrp="1"/>
          </p:cNvSpPr>
          <p:nvPr>
            <p:ph type="ftr" sz="quarter" idx="11"/>
          </p:nvPr>
        </p:nvSpPr>
        <p:spPr/>
        <p:txBody>
          <a:bodyPr/>
          <a:lstStyle/>
          <a:p>
            <a:pPr lvl="0"/>
            <a:endParaRPr>
              <a:sym typeface="Arial" panose="020B0604020202020204" pitchFamily="34" charset="0"/>
            </a:endParaRPr>
          </a:p>
        </p:txBody>
      </p:sp>
      <p:sp>
        <p:nvSpPr>
          <p:cNvPr id="6" name="灯片编号占位符 5"/>
          <p:cNvSpPr>
            <a:spLocks noGrp="1"/>
          </p:cNvSpPr>
          <p:nvPr>
            <p:ph type="sldNum" sz="quarter" idx="12"/>
          </p:nvPr>
        </p:nvSpPr>
        <p:spPr/>
        <p:txBody>
          <a:body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sp>
        <p:nvSpPr>
          <p:cNvPr id="2" name="标题 1"/>
          <p:cNvSpPr>
            <a:spLocks noGrp="1"/>
          </p:cNvSpPr>
          <p:nvPr>
            <p:ph type="title"/>
          </p:nvPr>
        </p:nvSpPr>
        <p:spPr>
          <a:xfrm>
            <a:off x="426778" y="205979"/>
            <a:ext cx="8046723" cy="411269"/>
          </a:xfrm>
        </p:spPr>
        <p:txBody>
          <a:bodyPr>
            <a:normAutofit/>
          </a:bodyPr>
          <a:lstStyle>
            <a:lvl1pPr>
              <a:defRPr sz="1430" b="1">
                <a:solidFill>
                  <a:schemeClr val="tx1">
                    <a:lumMod val="75000"/>
                    <a:lumOff val="25000"/>
                  </a:schemeClr>
                </a:solidFill>
                <a:latin typeface="微软雅黑 Light" panose="020B0502040204020203" pitchFamily="34" charset="-122"/>
                <a:ea typeface="微软雅黑 Light" panose="020B0502040204020203" pitchFamily="34" charset="-122"/>
                <a:cs typeface="Times New Roman" panose="02020603050405020304" pitchFamily="18" charset="0"/>
              </a:defRPr>
            </a:lvl1pPr>
          </a:lstStyle>
          <a:p>
            <a:r>
              <a:rPr lang="zh-CN" altLang="en-US"/>
              <a:t>单击此处编辑母版标题样式</a:t>
            </a:r>
            <a:endParaRPr lang="zh-CN" altLang="en-US"/>
          </a:p>
        </p:txBody>
      </p:sp>
      <p:sp>
        <p:nvSpPr>
          <p:cNvPr id="9" name="TextBox 8"/>
          <p:cNvSpPr txBox="1"/>
          <p:nvPr userDrawn="1"/>
        </p:nvSpPr>
        <p:spPr>
          <a:xfrm>
            <a:off x="6644611" y="4680401"/>
            <a:ext cx="1767815" cy="106680"/>
          </a:xfrm>
          <a:prstGeom prst="rect">
            <a:avLst/>
          </a:prstGeom>
          <a:solidFill>
            <a:schemeClr val="bg1"/>
          </a:solidFill>
        </p:spPr>
        <p:txBody>
          <a:bodyPr wrap="square" rtlCol="0">
            <a:spAutoFit/>
          </a:bodyPr>
          <a:lstStyle/>
          <a:p>
            <a:endParaRPr lang="zh-CN" altLang="en-US" sz="100" dirty="0"/>
          </a:p>
        </p:txBody>
      </p:sp>
      <p:sp>
        <p:nvSpPr>
          <p:cNvPr id="16" name="灯片编号占位符 15"/>
          <p:cNvSpPr>
            <a:spLocks noGrp="1"/>
          </p:cNvSpPr>
          <p:nvPr>
            <p:ph type="sldNum" sz="quarter" idx="11"/>
          </p:nvPr>
        </p:nvSpPr>
        <p:spPr>
          <a:xfrm>
            <a:off x="6827489" y="4834859"/>
            <a:ext cx="2133600" cy="273844"/>
          </a:xfrm>
        </p:spPr>
        <p:txBody>
          <a:bodyPr/>
          <a:lstStyle>
            <a:lvl1pPr algn="r">
              <a:defRPr sz="855">
                <a:solidFill>
                  <a:schemeClr val="tx1"/>
                </a:solidFill>
                <a:latin typeface="Arial" panose="020B0604020202020204" pitchFamily="34" charset="0"/>
                <a:cs typeface="Arial" panose="020B0604020202020204" pitchFamily="34" charset="0"/>
              </a:defRPr>
            </a:lvl1pPr>
          </a:lstStyle>
          <a:p>
            <a:fld id="{194DB6CE-0EB3-4A54-BF1B-AA4EEB34285F}" type="slidenum">
              <a:rPr lang="zh-CN" altLang="en-US" smtClean="0"/>
            </a:fld>
            <a:endParaRPr lang="zh-CN" altLang="en-US"/>
          </a:p>
        </p:txBody>
      </p:sp>
      <p:sp>
        <p:nvSpPr>
          <p:cNvPr id="5" name="矩形 4"/>
          <p:cNvSpPr/>
          <p:nvPr userDrawn="1"/>
        </p:nvSpPr>
        <p:spPr>
          <a:xfrm>
            <a:off x="0" y="283871"/>
            <a:ext cx="356138" cy="2554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
          </a:p>
        </p:txBody>
      </p:sp>
      <p:sp>
        <p:nvSpPr>
          <p:cNvPr id="6" name="矩形 5"/>
          <p:cNvSpPr/>
          <p:nvPr userDrawn="1"/>
        </p:nvSpPr>
        <p:spPr>
          <a:xfrm>
            <a:off x="384360" y="283871"/>
            <a:ext cx="72571" cy="2554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282304"/>
            <a:ext cx="7886700" cy="2139553"/>
          </a:xfrm>
          <a:prstGeom prst="rect">
            <a:avLst/>
          </a:prstGeom>
        </p:spPr>
        <p:txBody>
          <a:bodyPr anchor="b"/>
          <a:lstStyle>
            <a:lvl1pPr>
              <a:defRPr sz="45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623888" y="3442097"/>
            <a:ext cx="7886700" cy="1125140"/>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单击此处编辑母版文本样式</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955"/>
            <a:ext cx="8229600" cy="114300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628650" y="1369219"/>
            <a:ext cx="3886200" cy="3263504"/>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4629150" y="1369219"/>
            <a:ext cx="3886200" cy="3263504"/>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841" y="273844"/>
            <a:ext cx="7886700" cy="994172"/>
          </a:xfrm>
          <a:prstGeom prst="rect">
            <a:avLst/>
          </a:prstGeo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90081" y="1333829"/>
            <a:ext cx="3655181" cy="617934"/>
          </a:xfrm>
          <a:prstGeom prst="rect">
            <a:avLst/>
          </a:prstGeom>
        </p:spPr>
        <p:txBody>
          <a:bodyPr anchor="ctr" anchorCtr="0"/>
          <a:lstStyle>
            <a:lvl1pPr marL="0" indent="0">
              <a:buNone/>
              <a:defRPr sz="2100"/>
            </a:lvl1pPr>
            <a:lvl2pPr marL="342900" indent="0">
              <a:buNone/>
              <a:defRPr sz="1800"/>
            </a:lvl2pPr>
            <a:lvl3pPr marL="685800" indent="0">
              <a:buNone/>
              <a:defRPr sz="1500"/>
            </a:lvl3pPr>
            <a:lvl4pPr marL="1028700" indent="0">
              <a:buNone/>
              <a:defRPr sz="1350"/>
            </a:lvl4pPr>
            <a:lvl5pPr marL="1371600" indent="0">
              <a:buNone/>
              <a:defRPr sz="1350"/>
            </a:lvl5pPr>
            <a:lvl6pPr marL="1714500" indent="0">
              <a:buNone/>
              <a:defRPr sz="1350"/>
            </a:lvl6pPr>
            <a:lvl7pPr marL="2057400" indent="0">
              <a:buNone/>
              <a:defRPr sz="1350"/>
            </a:lvl7pPr>
            <a:lvl8pPr marL="2400300" indent="0">
              <a:buNone/>
              <a:defRPr sz="1350"/>
            </a:lvl8pPr>
            <a:lvl9pPr marL="2743200" indent="0">
              <a:buNone/>
              <a:defRPr sz="1350"/>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90081" y="1999034"/>
            <a:ext cx="3655181" cy="2643213"/>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4692704" y="1333829"/>
            <a:ext cx="3673182" cy="617934"/>
          </a:xfrm>
          <a:prstGeom prst="rect">
            <a:avLst/>
          </a:prstGeom>
        </p:spPr>
        <p:txBody>
          <a:bodyPr anchor="ctr" anchorCtr="0"/>
          <a:lstStyle>
            <a:lvl1pPr marL="0" indent="0">
              <a:buNone/>
              <a:defRPr sz="2100"/>
            </a:lvl1pPr>
            <a:lvl2pPr marL="342900" indent="0">
              <a:buNone/>
              <a:defRPr sz="1800"/>
            </a:lvl2pPr>
            <a:lvl3pPr marL="685800" indent="0">
              <a:buNone/>
              <a:defRPr sz="1500"/>
            </a:lvl3pPr>
            <a:lvl4pPr marL="1028700" indent="0">
              <a:buNone/>
              <a:defRPr sz="1350"/>
            </a:lvl4pPr>
            <a:lvl5pPr marL="1371600" indent="0">
              <a:buNone/>
              <a:defRPr sz="1350"/>
            </a:lvl5pPr>
            <a:lvl6pPr marL="1714500" indent="0">
              <a:buNone/>
              <a:defRPr sz="1350"/>
            </a:lvl6pPr>
            <a:lvl7pPr marL="2057400" indent="0">
              <a:buNone/>
              <a:defRPr sz="1350"/>
            </a:lvl7pPr>
            <a:lvl8pPr marL="2400300" indent="0">
              <a:buNone/>
              <a:defRPr sz="1350"/>
            </a:lvl8pPr>
            <a:lvl9pPr marL="2743200" indent="0">
              <a:buNone/>
              <a:defRPr sz="1350"/>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4692704" y="1999034"/>
            <a:ext cx="3673182" cy="2643213"/>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955"/>
            <a:ext cx="8229600" cy="1143000"/>
          </a:xfrm>
          <a:prstGeom prst="rect">
            <a:avLst/>
          </a:prstGeom>
        </p:spPr>
        <p:txBody>
          <a:bodyPr/>
          <a:lstStyle/>
          <a:p>
            <a:r>
              <a:rPr lang="zh-CN" altLang="en-US"/>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2949178" cy="1200150"/>
          </a:xfrm>
          <a:prstGeom prst="rect">
            <a:avLst/>
          </a:prstGeom>
        </p:spPr>
        <p:txBody>
          <a:bodyPr anchor="b"/>
          <a:lstStyle>
            <a:lvl1pPr>
              <a:defRPr sz="2400"/>
            </a:lvl1pPr>
          </a:lstStyle>
          <a:p>
            <a:r>
              <a:rPr lang="zh-CN" altLang="en-US"/>
              <a:t>单击此处编辑母版标题样式</a:t>
            </a:r>
            <a:endParaRPr lang="zh-CN" altLang="en-US"/>
          </a:p>
        </p:txBody>
      </p:sp>
      <p:sp>
        <p:nvSpPr>
          <p:cNvPr id="3" name="内容占位符 2"/>
          <p:cNvSpPr>
            <a:spLocks noGrp="1"/>
          </p:cNvSpPr>
          <p:nvPr>
            <p:ph idx="1"/>
          </p:nvPr>
        </p:nvSpPr>
        <p:spPr>
          <a:xfrm>
            <a:off x="3887391" y="740569"/>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3124012" cy="1200150"/>
          </a:xfrm>
          <a:prstGeom prst="rect">
            <a:avLst/>
          </a:prstGeom>
        </p:spPr>
        <p:txBody>
          <a:bodyPr anchor="b"/>
          <a:lstStyle>
            <a:lvl1pPr>
              <a:defRPr sz="24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3887391" y="342901"/>
            <a:ext cx="4629150" cy="4052888"/>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p:cNvSpPr>
            <a:spLocks noGrp="1"/>
          </p:cNvSpPr>
          <p:nvPr>
            <p:ph type="body" sz="half" idx="2"/>
          </p:nvPr>
        </p:nvSpPr>
        <p:spPr>
          <a:xfrm>
            <a:off x="629841" y="1543050"/>
            <a:ext cx="3124012" cy="2858691"/>
          </a:xfrm>
          <a:prstGeom prst="rect">
            <a:avLst/>
          </a:prstGeom>
        </p:spPr>
        <p:txBody>
          <a:bodyPr/>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zh-CN" altLang="en-US"/>
              <a:t>单击此处编辑母版文本样式</a:t>
            </a: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7" Type="http://schemas.openxmlformats.org/officeDocument/2006/relationships/theme" Target="../theme/theme1.xml"/><Relationship Id="rId16" Type="http://schemas.openxmlformats.org/officeDocument/2006/relationships/vmlDrawing" Target="../drawings/vmlDrawing1.vml"/><Relationship Id="rId15" Type="http://schemas.openxmlformats.org/officeDocument/2006/relationships/image" Target="../media/image2.png"/><Relationship Id="rId14" Type="http://schemas.openxmlformats.org/officeDocument/2006/relationships/image" Target="../media/image1.emf"/><Relationship Id="rId13" Type="http://schemas.openxmlformats.org/officeDocument/2006/relationships/oleObject" Target="../embeddings/oleObject1.bin"/><Relationship Id="rId12" Type="http://schemas.openxmlformats.org/officeDocument/2006/relationships/tags" Target="../tags/tag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 Type="http://schemas.openxmlformats.org/officeDocument/2006/relationships/slideLayout" Target="../slideLayouts/slideLayout13.xml"/><Relationship Id="rId19" Type="http://schemas.openxmlformats.org/officeDocument/2006/relationships/theme" Target="../theme/theme2.xml"/><Relationship Id="rId18" Type="http://schemas.openxmlformats.org/officeDocument/2006/relationships/vmlDrawing" Target="../drawings/vmlDrawing2.vml"/><Relationship Id="rId17" Type="http://schemas.openxmlformats.org/officeDocument/2006/relationships/image" Target="../media/image2.png"/><Relationship Id="rId16" Type="http://schemas.openxmlformats.org/officeDocument/2006/relationships/image" Target="../media/image1.emf"/><Relationship Id="rId15" Type="http://schemas.openxmlformats.org/officeDocument/2006/relationships/oleObject" Target="../embeddings/oleObject2.bin"/><Relationship Id="rId14" Type="http://schemas.openxmlformats.org/officeDocument/2006/relationships/tags" Target="../tags/tag2.xml"/><Relationship Id="rId13" Type="http://schemas.openxmlformats.org/officeDocument/2006/relationships/slideLayout" Target="../slideLayouts/slideLayout24.xml"/><Relationship Id="rId12" Type="http://schemas.openxmlformats.org/officeDocument/2006/relationships/slideLayout" Target="../slideLayouts/slideLayout23.xml"/><Relationship Id="rId11" Type="http://schemas.openxmlformats.org/officeDocument/2006/relationships/slideLayout" Target="../slideLayouts/slideLayout22.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100000"/>
          </a:schemeClr>
        </a:solidFill>
        <a:effectLst/>
      </p:bgPr>
    </p:bg>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Slide" r:id="rId13" imgW="8255" imgH="8255" progId="TCLayout.ActiveDocument.1">
                  <p:embed/>
                </p:oleObj>
              </mc:Choice>
              <mc:Fallback>
                <p:oleObj name="think-cell Slide" r:id="rId13" imgW="8255" imgH="8255" progId="TCLayout.ActiveDocument.1">
                  <p:embed/>
                  <p:pic>
                    <p:nvPicPr>
                      <p:cNvPr id="0" name="think-cell data - do not delete"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Text Placeholder 2"/>
          <p:cNvSpPr>
            <a:spLocks noGrp="1"/>
          </p:cNvSpPr>
          <p:nvPr>
            <p:ph type="body" idx="1"/>
          </p:nvPr>
        </p:nvSpPr>
        <p:spPr>
          <a:xfrm>
            <a:off x="628650" y="1370013"/>
            <a:ext cx="7886700" cy="1264962"/>
          </a:xfrm>
          <a:prstGeom prst="rect">
            <a:avLst/>
          </a:prstGeom>
        </p:spPr>
        <p:txBody>
          <a:bodyPr vert="horz" lIns="0" tIns="0" rIns="0" bIns="0" rtlCol="0">
            <a:spAutoFit/>
          </a:bodyPr>
          <a:lstStyle/>
          <a:p>
            <a:pPr lvl="0"/>
            <a:r>
              <a:rPr lang="en-US" altLang="zh-CN" dirty="0"/>
              <a:t>Click to 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pic>
        <p:nvPicPr>
          <p:cNvPr id="5" name="图片 2"/>
          <p:cNvPicPr>
            <a:picLocks noChangeAspect="1"/>
          </p:cNvPicPr>
          <p:nvPr userDrawn="1"/>
        </p:nvPicPr>
        <p:blipFill>
          <a:blip r:embed="rId15"/>
          <a:stretch>
            <a:fillRect/>
          </a:stretch>
        </p:blipFill>
        <p:spPr>
          <a:xfrm>
            <a:off x="7486650" y="4568825"/>
            <a:ext cx="1652588" cy="568325"/>
          </a:xfrm>
          <a:prstGeom prst="rect">
            <a:avLst/>
          </a:prstGeom>
          <a:noFill/>
          <a:ln w="9525">
            <a:noFill/>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marL="457200" lvl="0" indent="-457200" algn="ctr" defTabSz="0" eaLnBrk="1" fontAlgn="base" latinLnBrk="0" hangingPunct="1">
        <a:lnSpc>
          <a:spcPct val="100000"/>
        </a:lnSpc>
        <a:spcBef>
          <a:spcPct val="0"/>
        </a:spcBef>
        <a:spcAft>
          <a:spcPct val="0"/>
        </a:spcAft>
        <a:buNone/>
        <a:defRPr sz="4400" kern="1200">
          <a:solidFill>
            <a:schemeClr val="tx1"/>
          </a:solidFill>
          <a:latin typeface="+mj-lt"/>
          <a:ea typeface="+mj-ea"/>
          <a:cs typeface="+mj-cs"/>
          <a:sym typeface="Calibri" panose="020F0502020204030204" charset="0"/>
        </a:defRPr>
      </a:lvl1pPr>
    </p:titleStyle>
    <p:bodyStyle>
      <a:lvl1pPr marL="342900" lvl="0" indent="-342900" algn="l" defTabSz="457200" eaLnBrk="1" fontAlgn="base" latinLnBrk="0" hangingPunct="1">
        <a:lnSpc>
          <a:spcPct val="100000"/>
        </a:lnSpc>
        <a:spcBef>
          <a:spcPct val="20000"/>
        </a:spcBef>
        <a:spcAft>
          <a:spcPct val="0"/>
        </a:spcAft>
        <a:buFont typeface="Arial" panose="020B0604020202020204" pitchFamily="34" charset="0"/>
        <a:buChar char="•"/>
        <a:defRPr sz="1400" kern="1200">
          <a:solidFill>
            <a:schemeClr val="tx1"/>
          </a:solidFill>
          <a:latin typeface="+mn-lt"/>
          <a:ea typeface="+mn-ea"/>
          <a:cs typeface="+mn-cs"/>
          <a:sym typeface="Calibri" panose="020F0502020204030204" charset="0"/>
        </a:defRPr>
      </a:lvl1pPr>
      <a:lvl2pPr marL="742950" lvl="1" indent="-285750" algn="l" defTabSz="457200" eaLnBrk="1" fontAlgn="base" latinLnBrk="0" hangingPunct="1">
        <a:lnSpc>
          <a:spcPct val="100000"/>
        </a:lnSpc>
        <a:spcBef>
          <a:spcPct val="20000"/>
        </a:spcBef>
        <a:spcAft>
          <a:spcPct val="0"/>
        </a:spcAft>
        <a:buFont typeface="Arial" panose="020B0604020202020204" pitchFamily="34" charset="0"/>
        <a:buChar char="–"/>
        <a:defRPr sz="1400" kern="1200">
          <a:solidFill>
            <a:schemeClr val="tx1"/>
          </a:solidFill>
          <a:latin typeface="Calibri" panose="020F0502020204030204" charset="0"/>
          <a:ea typeface="宋体" panose="02010600030101010101" pitchFamily="2" charset="-122"/>
          <a:cs typeface="+mn-cs"/>
          <a:sym typeface="Calibri" panose="020F0502020204030204" charset="0"/>
        </a:defRPr>
      </a:lvl2pPr>
      <a:lvl3pPr marL="1143000" lvl="2" indent="-228600" algn="l" defTabSz="457200" eaLnBrk="1" fontAlgn="base" latinLnBrk="0" hangingPunct="1">
        <a:lnSpc>
          <a:spcPct val="100000"/>
        </a:lnSpc>
        <a:spcBef>
          <a:spcPct val="20000"/>
        </a:spcBef>
        <a:spcAft>
          <a:spcPct val="0"/>
        </a:spcAft>
        <a:buFont typeface="Arial" panose="020B0604020202020204" pitchFamily="34" charset="0"/>
        <a:buChar char="•"/>
        <a:defRPr sz="1400" kern="1200">
          <a:solidFill>
            <a:schemeClr val="tx1"/>
          </a:solidFill>
          <a:latin typeface="Calibri" panose="020F0502020204030204" charset="0"/>
          <a:ea typeface="宋体" panose="02010600030101010101" pitchFamily="2" charset="-122"/>
          <a:cs typeface="+mn-cs"/>
          <a:sym typeface="Calibri" panose="020F0502020204030204" charset="0"/>
        </a:defRPr>
      </a:lvl3pPr>
      <a:lvl4pPr marL="1600200" lvl="3" indent="-228600" algn="l" defTabSz="457200" eaLnBrk="1" fontAlgn="base" latinLnBrk="0" hangingPunct="1">
        <a:lnSpc>
          <a:spcPct val="100000"/>
        </a:lnSpc>
        <a:spcBef>
          <a:spcPct val="20000"/>
        </a:spcBef>
        <a:spcAft>
          <a:spcPct val="0"/>
        </a:spcAft>
        <a:buFont typeface="Arial" panose="020B0604020202020204" pitchFamily="34" charset="0"/>
        <a:buChar char="–"/>
        <a:defRPr sz="1400" kern="1200">
          <a:solidFill>
            <a:schemeClr val="tx1"/>
          </a:solidFill>
          <a:latin typeface="Calibri" panose="020F0502020204030204" charset="0"/>
          <a:ea typeface="宋体" panose="02010600030101010101" pitchFamily="2" charset="-122"/>
          <a:cs typeface="+mn-cs"/>
          <a:sym typeface="Calibri" panose="020F0502020204030204" charset="0"/>
        </a:defRPr>
      </a:lvl4pPr>
      <a:lvl5pPr marL="2057400" lvl="4" indent="-228600" algn="l" defTabSz="457200" eaLnBrk="1" fontAlgn="base" latinLnBrk="0" hangingPunct="1">
        <a:lnSpc>
          <a:spcPct val="100000"/>
        </a:lnSpc>
        <a:spcBef>
          <a:spcPct val="20000"/>
        </a:spcBef>
        <a:spcAft>
          <a:spcPct val="0"/>
        </a:spcAft>
        <a:buFont typeface="Arial" panose="020B0604020202020204" pitchFamily="34" charset="0"/>
        <a:buChar char="»"/>
        <a:defRPr sz="1400" kern="1200">
          <a:solidFill>
            <a:schemeClr val="tx1"/>
          </a:solidFill>
          <a:latin typeface="Calibri" panose="020F0502020204030204" charset="0"/>
          <a:ea typeface="宋体" panose="02010600030101010101" pitchFamily="2" charset="-122"/>
          <a:cs typeface="+mn-cs"/>
          <a:sym typeface="Calibri" panose="020F0502020204030204" charset="0"/>
        </a:defRPr>
      </a:lvl5pPr>
      <a:lvl6pPr marL="2514600" lvl="5" indent="-228600" algn="l" defTabSz="457200" eaLnBrk="1" fontAlgn="base" latinLnBrk="0" hangingPunct="1">
        <a:lnSpc>
          <a:spcPct val="100000"/>
        </a:lnSpc>
        <a:spcBef>
          <a:spcPct val="20000"/>
        </a:spcBef>
        <a:spcAft>
          <a:spcPct val="0"/>
        </a:spcAft>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cs typeface="+mn-cs"/>
          <a:sym typeface="Calibri" panose="020F0502020204030204" charset="0"/>
        </a:defRPr>
      </a:lvl6pPr>
      <a:lvl7pPr marL="2971800" lvl="6" indent="-228600" algn="l" defTabSz="457200" eaLnBrk="1" fontAlgn="base" latinLnBrk="0" hangingPunct="1">
        <a:lnSpc>
          <a:spcPct val="100000"/>
        </a:lnSpc>
        <a:spcBef>
          <a:spcPct val="20000"/>
        </a:spcBef>
        <a:spcAft>
          <a:spcPct val="0"/>
        </a:spcAft>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cs typeface="+mn-cs"/>
          <a:sym typeface="Calibri" panose="020F0502020204030204" charset="0"/>
        </a:defRPr>
      </a:lvl7pPr>
      <a:lvl8pPr marL="3429000" lvl="7" indent="-228600" algn="l" defTabSz="457200" eaLnBrk="1" fontAlgn="base" latinLnBrk="0" hangingPunct="1">
        <a:lnSpc>
          <a:spcPct val="100000"/>
        </a:lnSpc>
        <a:spcBef>
          <a:spcPct val="20000"/>
        </a:spcBef>
        <a:spcAft>
          <a:spcPct val="0"/>
        </a:spcAft>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cs typeface="+mn-cs"/>
          <a:sym typeface="Calibri" panose="020F0502020204030204" charset="0"/>
        </a:defRPr>
      </a:lvl8pPr>
      <a:lvl9pPr marL="3886200" lvl="8" indent="-228600" algn="l" defTabSz="457200" eaLnBrk="1" fontAlgn="base" latinLnBrk="0" hangingPunct="1">
        <a:lnSpc>
          <a:spcPct val="100000"/>
        </a:lnSpc>
        <a:spcBef>
          <a:spcPct val="20000"/>
        </a:spcBef>
        <a:spcAft>
          <a:spcPct val="0"/>
        </a:spcAft>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cs typeface="+mn-cs"/>
          <a:sym typeface="Calibri" panose="020F0502020204030204" charset="0"/>
        </a:defRPr>
      </a:lvl9pPr>
    </p:bodyStyle>
    <p:otherStyle>
      <a:lvl1pPr marL="0" lvl="0"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mn-lt"/>
          <a:ea typeface="+mn-ea"/>
          <a:cs typeface="+mn-cs"/>
        </a:defRPr>
      </a:lvl1pPr>
      <a:lvl2pPr marL="457200" lvl="1"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5pPr>
      <a:lvl6pPr marL="2286000" lvl="5"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6pPr>
      <a:lvl7pPr marL="2743200" lvl="6"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7pPr>
      <a:lvl8pPr marL="3200400" lvl="7"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8pPr>
      <a:lvl9pPr marL="3657600" lvl="8"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alpha val="100000"/>
          </a:srgbClr>
        </a:solidFill>
        <a:effectLst/>
      </p:bgPr>
    </p:bg>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Slide" r:id="rId15" imgW="8255" imgH="8255" progId="TCLayout.ActiveDocument.1">
                  <p:embed/>
                </p:oleObj>
              </mc:Choice>
              <mc:Fallback>
                <p:oleObj name="think-cell Slide" r:id="rId15" imgW="8255" imgH="8255" progId="TCLayout.ActiveDocument.1">
                  <p:embed/>
                  <p:pic>
                    <p:nvPicPr>
                      <p:cNvPr id="0" name="think-cell data - do not delete"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050" name="标题占位符 1"/>
          <p:cNvSpPr>
            <a:spLocks noGrp="1"/>
          </p:cNvSpPr>
          <p:nvPr>
            <p:ph type="title"/>
          </p:nvPr>
        </p:nvSpPr>
        <p:spPr>
          <a:xfrm>
            <a:off x="501650" y="333375"/>
            <a:ext cx="8140700" cy="330200"/>
          </a:xfrm>
          <a:prstGeom prst="rect">
            <a:avLst/>
          </a:prstGeom>
          <a:noFill/>
          <a:ln w="9525">
            <a:noFill/>
          </a:ln>
        </p:spPr>
        <p:txBody>
          <a:bodyPr vert="horz" wrap="square" lIns="90170" tIns="46990" rIns="90170" bIns="46990" anchor="ctr" anchorCtr="0">
            <a:normAutofit/>
          </a:bodyPr>
          <a:lstStyle/>
          <a:p>
            <a:pPr lvl="0"/>
            <a:r>
              <a:rPr lang="zh-CN" altLang="en-US"/>
              <a:t>单击此处编辑母版标题样式</a:t>
            </a:r>
            <a:endParaRPr lang="zh-CN" altLang="en-US"/>
          </a:p>
        </p:txBody>
      </p:sp>
      <p:sp>
        <p:nvSpPr>
          <p:cNvPr id="2051" name="文本占位符 2"/>
          <p:cNvSpPr>
            <a:spLocks noGrp="1"/>
          </p:cNvSpPr>
          <p:nvPr>
            <p:ph type="body" idx="1"/>
          </p:nvPr>
        </p:nvSpPr>
        <p:spPr>
          <a:xfrm>
            <a:off x="501650" y="720725"/>
            <a:ext cx="8140700" cy="4041775"/>
          </a:xfrm>
          <a:prstGeom prst="rect">
            <a:avLst/>
          </a:prstGeom>
          <a:noFill/>
          <a:ln w="9525">
            <a:noFill/>
          </a:ln>
        </p:spPr>
        <p:txBody>
          <a:bodyPr vert="horz" wrap="square" lIns="90170" tIns="46990" rIns="90170" bIns="4699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2052" name="日期占位符 3"/>
          <p:cNvSpPr>
            <a:spLocks noGrp="1"/>
          </p:cNvSpPr>
          <p:nvPr>
            <p:ph type="dt" sz="half" idx="2"/>
          </p:nvPr>
        </p:nvSpPr>
        <p:spPr>
          <a:xfrm>
            <a:off x="660400" y="4762500"/>
            <a:ext cx="2024063" cy="238125"/>
          </a:xfrm>
          <a:prstGeom prst="rect">
            <a:avLst/>
          </a:prstGeom>
          <a:noFill/>
          <a:ln w="9525">
            <a:noFill/>
          </a:ln>
        </p:spPr>
        <p:txBody>
          <a:bodyPr vert="horz" wrap="square" anchor="ctr" anchorCtr="0">
            <a:normAutofit/>
          </a:bodyPr>
          <a:lstStyle>
            <a:lvl1pPr algn="l">
              <a:defRPr sz="900">
                <a:solidFill>
                  <a:srgbClr val="898989"/>
                </a:solidFill>
                <a:latin typeface="Arial" panose="020B0604020202020204" pitchFamily="34" charset="0"/>
                <a:ea typeface="微软雅黑" panose="020B0503020204020204" charset="-122"/>
              </a:defRPr>
            </a:lvl1pPr>
          </a:lstStyle>
          <a:p>
            <a:pPr lvl="0"/>
            <a:fld id="{BB962C8B-B14F-4D97-AF65-F5344CB8AC3E}" type="datetime1">
              <a:rPr lang="zh-CN" altLang="en-US" dirty="0">
                <a:sym typeface="Arial" panose="020B0604020202020204" pitchFamily="34" charset="0"/>
              </a:rPr>
            </a:fld>
            <a:endParaRPr lang="zh-CN" altLang="en-US" dirty="0">
              <a:sym typeface="Arial" panose="020B0604020202020204" pitchFamily="34" charset="0"/>
            </a:endParaRPr>
          </a:p>
        </p:txBody>
      </p:sp>
      <p:sp>
        <p:nvSpPr>
          <p:cNvPr id="2053" name="页脚占位符 4"/>
          <p:cNvSpPr>
            <a:spLocks noGrp="1"/>
          </p:cNvSpPr>
          <p:nvPr>
            <p:ph type="ftr" sz="quarter" idx="3"/>
          </p:nvPr>
        </p:nvSpPr>
        <p:spPr>
          <a:xfrm>
            <a:off x="3086100" y="4762500"/>
            <a:ext cx="2970213" cy="238125"/>
          </a:xfrm>
          <a:prstGeom prst="rect">
            <a:avLst/>
          </a:prstGeom>
          <a:noFill/>
          <a:ln w="9525">
            <a:noFill/>
          </a:ln>
        </p:spPr>
        <p:txBody>
          <a:bodyPr vert="horz" wrap="square" anchor="ctr" anchorCtr="0">
            <a:normAutofit/>
          </a:bodyPr>
          <a:lstStyle>
            <a:lvl1pPr algn="ctr">
              <a:defRPr sz="900">
                <a:solidFill>
                  <a:srgbClr val="898989"/>
                </a:solidFill>
                <a:latin typeface="Arial" panose="020B0604020202020204" pitchFamily="34" charset="0"/>
                <a:ea typeface="微软雅黑" panose="020B0503020204020204" charset="-122"/>
              </a:defRPr>
            </a:lvl1pPr>
          </a:lstStyle>
          <a:p>
            <a:pPr lvl="0"/>
            <a:endParaRPr>
              <a:sym typeface="Arial" panose="020B0604020202020204" pitchFamily="34" charset="0"/>
            </a:endParaRPr>
          </a:p>
        </p:txBody>
      </p:sp>
      <p:sp>
        <p:nvSpPr>
          <p:cNvPr id="2054" name="灯片编号占位符 5"/>
          <p:cNvSpPr>
            <a:spLocks noGrp="1"/>
          </p:cNvSpPr>
          <p:nvPr>
            <p:ph type="sldNum" sz="quarter" idx="4"/>
          </p:nvPr>
        </p:nvSpPr>
        <p:spPr>
          <a:xfrm>
            <a:off x="6457950" y="4762500"/>
            <a:ext cx="2025650" cy="238125"/>
          </a:xfrm>
          <a:prstGeom prst="rect">
            <a:avLst/>
          </a:prstGeom>
          <a:noFill/>
          <a:ln w="9525">
            <a:noFill/>
          </a:ln>
        </p:spPr>
        <p:txBody>
          <a:bodyPr vert="horz" wrap="square" anchor="ctr" anchorCtr="0">
            <a:normAutofit/>
          </a:bodyPr>
          <a:lstStyle>
            <a:lvl1pPr algn="r">
              <a:defRPr sz="900">
                <a:solidFill>
                  <a:srgbClr val="898989"/>
                </a:solidFill>
                <a:latin typeface="Arial" panose="020B0604020202020204" pitchFamily="34" charset="0"/>
                <a:ea typeface="微软雅黑" panose="020B0503020204020204" charset="-122"/>
              </a:defRPr>
            </a:lvl1pPr>
          </a:lstStyle>
          <a:p>
            <a:pPr lvl="0"/>
            <a:fld id="{9A0DB2DC-4C9A-4742-B13C-FB6460FD3503}" type="slidenum">
              <a:rPr lang="zh-CN" altLang="en-US" dirty="0">
                <a:sym typeface="Arial" panose="020B0604020202020204" pitchFamily="34" charset="0"/>
              </a:rPr>
            </a:fld>
            <a:endParaRPr lang="zh-CN" altLang="en-US" dirty="0">
              <a:sym typeface="Arial" panose="020B0604020202020204" pitchFamily="34" charset="0"/>
            </a:endParaRPr>
          </a:p>
        </p:txBody>
      </p:sp>
      <p:sp>
        <p:nvSpPr>
          <p:cNvPr id="2055" name="KSO_TEMPLATE" hidden="1"/>
          <p:cNvSpPr/>
          <p:nvPr/>
        </p:nvSpPr>
        <p:spPr>
          <a:xfrm>
            <a:off x="0" y="0"/>
            <a:ext cx="0" cy="0"/>
          </a:xfrm>
          <a:prstGeom prst="rect">
            <a:avLst/>
          </a:prstGeom>
          <a:solidFill>
            <a:schemeClr val="accent1"/>
          </a:solidFill>
          <a:ln w="12700" cap="flat" cmpd="sng">
            <a:solidFill>
              <a:srgbClr val="647588"/>
            </a:solidFill>
            <a:prstDash val="solid"/>
            <a:miter/>
            <a:headEnd type="none" w="med" len="med"/>
            <a:tailEnd type="none" w="med" len="med"/>
          </a:ln>
        </p:spPr>
        <p:txBody>
          <a:bodyPr anchor="ctr" anchorCtr="0"/>
          <a:lstStyle/>
          <a:p>
            <a:pPr lvl="0" algn="ctr">
              <a:lnSpc>
                <a:spcPct val="100000"/>
              </a:lnSpc>
            </a:pPr>
            <a:endParaRPr sz="1300">
              <a:solidFill>
                <a:srgbClr val="FFFFFF"/>
              </a:solidFill>
              <a:ea typeface="宋体" panose="02010600030101010101" pitchFamily="2" charset="-122"/>
            </a:endParaRPr>
          </a:p>
        </p:txBody>
      </p:sp>
      <p:pic>
        <p:nvPicPr>
          <p:cNvPr id="2056" name="图片 2"/>
          <p:cNvPicPr>
            <a:picLocks noChangeAspect="1"/>
          </p:cNvPicPr>
          <p:nvPr/>
        </p:nvPicPr>
        <p:blipFill>
          <a:blip r:embed="rId17"/>
          <a:stretch>
            <a:fillRect/>
          </a:stretch>
        </p:blipFill>
        <p:spPr>
          <a:xfrm>
            <a:off x="7486650" y="4568825"/>
            <a:ext cx="1652588" cy="568325"/>
          </a:xfrm>
          <a:prstGeom prst="rect">
            <a:avLst/>
          </a:prstGeom>
          <a:noFill/>
          <a:ln w="9525">
            <a:noFill/>
          </a:ln>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sldNum="0" hdr="0" ftr="0" dt="0"/>
  <p:txStyles>
    <p:titleStyle>
      <a:lvl1pPr marL="685800" lvl="0" indent="-685800" algn="l" defTabSz="0" eaLnBrk="1" fontAlgn="base" latinLnBrk="0" hangingPunct="1">
        <a:lnSpc>
          <a:spcPct val="100000"/>
        </a:lnSpc>
        <a:spcBef>
          <a:spcPct val="0"/>
        </a:spcBef>
        <a:buNone/>
        <a:defRPr sz="1800" b="1" kern="1200">
          <a:solidFill>
            <a:schemeClr val="tx1"/>
          </a:solidFill>
          <a:latin typeface="+mj-lt"/>
          <a:ea typeface="+mj-ea"/>
          <a:cs typeface="+mj-cs"/>
          <a:sym typeface="Arial" panose="020B0604020202020204" pitchFamily="34" charset="0"/>
        </a:defRPr>
      </a:lvl1pPr>
    </p:titleStyle>
    <p:bodyStyle>
      <a:lvl1pPr marL="171450" lvl="0" indent="-171450" algn="l" defTabSz="685800" eaLnBrk="1" fontAlgn="base" latinLnBrk="0" hangingPunct="1">
        <a:lnSpc>
          <a:spcPct val="130000"/>
        </a:lnSpc>
        <a:spcBef>
          <a:spcPct val="0"/>
        </a:spcBef>
        <a:spcAft>
          <a:spcPts val="1000"/>
        </a:spcAft>
        <a:buFont typeface="Arial" panose="020B0604020202020204" pitchFamily="34" charset="0"/>
        <a:buChar char="•"/>
        <a:defRPr sz="1200" kern="1200" baseline="0">
          <a:solidFill>
            <a:schemeClr val="tx1"/>
          </a:solidFill>
          <a:latin typeface="+mn-lt"/>
          <a:ea typeface="+mn-ea"/>
          <a:cs typeface="+mn-cs"/>
          <a:sym typeface="Arial" panose="020B0604020202020204" pitchFamily="34" charset="0"/>
        </a:defRPr>
      </a:lvl1pPr>
      <a:lvl2pPr marL="514350" lvl="1" indent="-171450" algn="l" defTabSz="685800" eaLnBrk="1" fontAlgn="base" latinLnBrk="0" hangingPunct="1">
        <a:lnSpc>
          <a:spcPct val="130000"/>
        </a:lnSpc>
        <a:spcBef>
          <a:spcPct val="0"/>
        </a:spcBef>
        <a:spcAft>
          <a:spcPts val="1000"/>
        </a:spcAft>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charset="-122"/>
          <a:cs typeface="+mn-cs"/>
          <a:sym typeface="Arial" panose="020B0604020202020204" pitchFamily="34" charset="0"/>
        </a:defRPr>
      </a:lvl2pPr>
      <a:lvl3pPr marL="857250" lvl="2" indent="-171450" algn="l" defTabSz="685800" eaLnBrk="1" fontAlgn="base" latinLnBrk="0" hangingPunct="1">
        <a:lnSpc>
          <a:spcPct val="130000"/>
        </a:lnSpc>
        <a:spcBef>
          <a:spcPct val="0"/>
        </a:spcBef>
        <a:spcAft>
          <a:spcPts val="1000"/>
        </a:spcAft>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charset="-122"/>
          <a:cs typeface="+mn-cs"/>
          <a:sym typeface="Arial" panose="020B0604020202020204" pitchFamily="34" charset="0"/>
        </a:defRPr>
      </a:lvl3pPr>
      <a:lvl4pPr marL="1200150" lvl="3" indent="-171450" algn="l" defTabSz="685800" eaLnBrk="1" fontAlgn="base" latinLnBrk="0" hangingPunct="1">
        <a:lnSpc>
          <a:spcPct val="130000"/>
        </a:lnSpc>
        <a:spcBef>
          <a:spcPct val="0"/>
        </a:spcBef>
        <a:spcAft>
          <a:spcPts val="1000"/>
        </a:spcAft>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charset="-122"/>
          <a:cs typeface="+mn-cs"/>
          <a:sym typeface="Arial" panose="020B0604020202020204" pitchFamily="34" charset="0"/>
        </a:defRPr>
      </a:lvl4pPr>
      <a:lvl5pPr marL="1543050" lvl="4" indent="-171450" algn="l" defTabSz="685800" eaLnBrk="1" fontAlgn="base" latinLnBrk="0" hangingPunct="1">
        <a:lnSpc>
          <a:spcPct val="130000"/>
        </a:lnSpc>
        <a:spcBef>
          <a:spcPct val="0"/>
        </a:spcBef>
        <a:spcAft>
          <a:spcPts val="1000"/>
        </a:spcAft>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charset="-122"/>
          <a:cs typeface="+mn-cs"/>
          <a:sym typeface="Arial" panose="020B0604020202020204" pitchFamily="34" charset="0"/>
        </a:defRPr>
      </a:lvl5pPr>
      <a:lvl6pPr marL="2514600" lvl="5" indent="-228600" algn="l" defTabSz="685800" eaLnBrk="1" fontAlgn="base" latinLnBrk="0" hangingPunct="1">
        <a:lnSpc>
          <a:spcPct val="130000"/>
        </a:lnSpc>
        <a:spcBef>
          <a:spcPct val="0"/>
        </a:spcBef>
        <a:spcAft>
          <a:spcPts val="1000"/>
        </a:spcAft>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charset="-122"/>
          <a:cs typeface="+mn-cs"/>
          <a:sym typeface="Arial" panose="020B0604020202020204" pitchFamily="34" charset="0"/>
        </a:defRPr>
      </a:lvl6pPr>
      <a:lvl7pPr marL="2971800" lvl="6" indent="-228600" algn="l" defTabSz="685800" eaLnBrk="1" fontAlgn="base" latinLnBrk="0" hangingPunct="1">
        <a:lnSpc>
          <a:spcPct val="130000"/>
        </a:lnSpc>
        <a:spcBef>
          <a:spcPct val="0"/>
        </a:spcBef>
        <a:spcAft>
          <a:spcPts val="1000"/>
        </a:spcAft>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charset="-122"/>
          <a:cs typeface="+mn-cs"/>
          <a:sym typeface="Arial" panose="020B0604020202020204" pitchFamily="34" charset="0"/>
        </a:defRPr>
      </a:lvl7pPr>
      <a:lvl8pPr marL="3429000" lvl="7" indent="-228600" algn="l" defTabSz="685800" eaLnBrk="1" fontAlgn="base" latinLnBrk="0" hangingPunct="1">
        <a:lnSpc>
          <a:spcPct val="130000"/>
        </a:lnSpc>
        <a:spcBef>
          <a:spcPct val="0"/>
        </a:spcBef>
        <a:spcAft>
          <a:spcPts val="1000"/>
        </a:spcAft>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charset="-122"/>
          <a:cs typeface="+mn-cs"/>
          <a:sym typeface="Arial" panose="020B0604020202020204" pitchFamily="34" charset="0"/>
        </a:defRPr>
      </a:lvl8pPr>
      <a:lvl9pPr marL="3886200" lvl="8" indent="-228600" algn="l" defTabSz="685800" eaLnBrk="1" fontAlgn="base" latinLnBrk="0" hangingPunct="1">
        <a:lnSpc>
          <a:spcPct val="130000"/>
        </a:lnSpc>
        <a:spcBef>
          <a:spcPct val="0"/>
        </a:spcBef>
        <a:spcAft>
          <a:spcPts val="1000"/>
        </a:spcAft>
        <a:buFont typeface="Arial" panose="020B0604020202020204" pitchFamily="34" charset="0"/>
        <a:buChar char="•"/>
        <a:defRPr sz="1200" kern="1200" baseline="0">
          <a:solidFill>
            <a:schemeClr val="tx1"/>
          </a:solidFill>
          <a:latin typeface="Arial" panose="020B0604020202020204" pitchFamily="34" charset="0"/>
          <a:ea typeface="微软雅黑" panose="020B0503020204020204" charset="-122"/>
          <a:cs typeface="+mn-cs"/>
          <a:sym typeface="Arial" panose="020B0604020202020204" pitchFamily="34" charset="0"/>
        </a:defRPr>
      </a:lvl9pPr>
    </p:bodyStyle>
    <p:otherStyle>
      <a:lvl1pPr marL="0" lvl="0"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mn-lt"/>
          <a:ea typeface="+mn-ea"/>
          <a:cs typeface="+mn-cs"/>
        </a:defRPr>
      </a:lvl1pPr>
      <a:lvl2pPr marL="457200" lvl="1"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5pPr>
      <a:lvl6pPr marL="2286000" lvl="5"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6pPr>
      <a:lvl7pPr marL="2743200" lvl="6"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7pPr>
      <a:lvl8pPr marL="3200400" lvl="7"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8pPr>
      <a:lvl9pPr marL="3657600" lvl="8" indent="0" algn="l" defTabSz="457200" eaLnBrk="1" fontAlgn="base" latinLnBrk="0" hangingPunct="1">
        <a:lnSpc>
          <a:spcPct val="100000"/>
        </a:lnSpc>
        <a:spcBef>
          <a:spcPct val="0"/>
        </a:spcBef>
        <a:spcAft>
          <a:spcPct val="0"/>
        </a:spcAft>
        <a:buFont typeface="Arial" panose="020B0604020202020204" pitchFamily="34" charset="0"/>
        <a:buNone/>
        <a:defRPr sz="1800" b="0" i="0" kern="1200" baseline="0">
          <a:solidFill>
            <a:schemeClr val="tx1"/>
          </a:solidFill>
          <a:latin typeface="Arial" panose="020B0604020202020204" pitchFamily="34" charset="0"/>
          <a:ea typeface="宋体" panose="02010600030101010101" pitchFamily="2" charset="-122"/>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slideLayout" Target="../slideLayouts/slideLayout1.xml"/><Relationship Id="rId4" Type="http://schemas.openxmlformats.org/officeDocument/2006/relationships/image" Target="../media/image3.png"/><Relationship Id="rId3" Type="http://schemas.openxmlformats.org/officeDocument/2006/relationships/image" Target="../media/image1.emf"/><Relationship Id="rId2" Type="http://schemas.openxmlformats.org/officeDocument/2006/relationships/oleObject" Target="../embeddings/oleObject3.bin"/><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9" Type="http://schemas.openxmlformats.org/officeDocument/2006/relationships/tags" Target="../tags/tag119.xml"/><Relationship Id="rId8" Type="http://schemas.openxmlformats.org/officeDocument/2006/relationships/tags" Target="../tags/tag118.xml"/><Relationship Id="rId7" Type="http://schemas.openxmlformats.org/officeDocument/2006/relationships/tags" Target="../tags/tag117.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 Id="rId3" Type="http://schemas.openxmlformats.org/officeDocument/2006/relationships/tags" Target="../tags/tag113.xml"/><Relationship Id="rId2" Type="http://schemas.openxmlformats.org/officeDocument/2006/relationships/tags" Target="../tags/tag112.xml"/><Relationship Id="rId16" Type="http://schemas.openxmlformats.org/officeDocument/2006/relationships/slideLayout" Target="../slideLayouts/slideLayout18.xml"/><Relationship Id="rId15" Type="http://schemas.openxmlformats.org/officeDocument/2006/relationships/image" Target="../media/image65.png"/><Relationship Id="rId14" Type="http://schemas.openxmlformats.org/officeDocument/2006/relationships/tags" Target="../tags/tag124.xml"/><Relationship Id="rId13" Type="http://schemas.openxmlformats.org/officeDocument/2006/relationships/tags" Target="../tags/tag123.xml"/><Relationship Id="rId12" Type="http://schemas.openxmlformats.org/officeDocument/2006/relationships/tags" Target="../tags/tag122.xml"/><Relationship Id="rId11" Type="http://schemas.openxmlformats.org/officeDocument/2006/relationships/tags" Target="../tags/tag121.xml"/><Relationship Id="rId10" Type="http://schemas.openxmlformats.org/officeDocument/2006/relationships/tags" Target="../tags/tag120.xml"/><Relationship Id="rId1" Type="http://schemas.openxmlformats.org/officeDocument/2006/relationships/tags" Target="../tags/tag111.xml"/></Relationships>
</file>

<file path=ppt/slides/_rels/slide11.xml.rels><?xml version="1.0" encoding="UTF-8" standalone="yes"?>
<Relationships xmlns="http://schemas.openxmlformats.org/package/2006/relationships"><Relationship Id="rId9" Type="http://schemas.openxmlformats.org/officeDocument/2006/relationships/tags" Target="../tags/tag132.xml"/><Relationship Id="rId8" Type="http://schemas.openxmlformats.org/officeDocument/2006/relationships/tags" Target="../tags/tag131.xml"/><Relationship Id="rId7" Type="http://schemas.openxmlformats.org/officeDocument/2006/relationships/tags" Target="../tags/tag130.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 Id="rId3" Type="http://schemas.openxmlformats.org/officeDocument/2006/relationships/tags" Target="../tags/tag126.xml"/><Relationship Id="rId2" Type="http://schemas.openxmlformats.org/officeDocument/2006/relationships/image" Target="../media/image66.png"/><Relationship Id="rId16" Type="http://schemas.openxmlformats.org/officeDocument/2006/relationships/slideLayout" Target="../slideLayouts/slideLayout18.xml"/><Relationship Id="rId15" Type="http://schemas.openxmlformats.org/officeDocument/2006/relationships/tags" Target="../tags/tag138.xml"/><Relationship Id="rId14" Type="http://schemas.openxmlformats.org/officeDocument/2006/relationships/tags" Target="../tags/tag137.xml"/><Relationship Id="rId13" Type="http://schemas.openxmlformats.org/officeDocument/2006/relationships/tags" Target="../tags/tag136.xml"/><Relationship Id="rId12" Type="http://schemas.openxmlformats.org/officeDocument/2006/relationships/tags" Target="../tags/tag135.xml"/><Relationship Id="rId11" Type="http://schemas.openxmlformats.org/officeDocument/2006/relationships/tags" Target="../tags/tag134.xml"/><Relationship Id="rId10" Type="http://schemas.openxmlformats.org/officeDocument/2006/relationships/tags" Target="../tags/tag133.xml"/><Relationship Id="rId1" Type="http://schemas.openxmlformats.org/officeDocument/2006/relationships/tags" Target="../tags/tag1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7" Type="http://schemas.openxmlformats.org/officeDocument/2006/relationships/slideLayout" Target="../slideLayouts/slideLayout18.xml"/><Relationship Id="rId6" Type="http://schemas.openxmlformats.org/officeDocument/2006/relationships/image" Target="../media/image4.jpeg"/><Relationship Id="rId5" Type="http://schemas.openxmlformats.org/officeDocument/2006/relationships/tags" Target="../tags/tag141.xml"/><Relationship Id="rId4" Type="http://schemas.openxmlformats.org/officeDocument/2006/relationships/image" Target="../media/image68.jpeg"/><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image" Target="../media/image6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6" Type="http://schemas.openxmlformats.org/officeDocument/2006/relationships/slideLayout" Target="../slideLayouts/slideLayout18.xml"/><Relationship Id="rId5" Type="http://schemas.openxmlformats.org/officeDocument/2006/relationships/image" Target="../media/image70.jpeg"/><Relationship Id="rId4" Type="http://schemas.openxmlformats.org/officeDocument/2006/relationships/tags" Target="../tags/tag144.xml"/><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image" Target="../media/image69.jpeg"/></Relationships>
</file>

<file path=ppt/slides/_rels/slide16.xml.rels><?xml version="1.0" encoding="UTF-8" standalone="yes"?>
<Relationships xmlns="http://schemas.openxmlformats.org/package/2006/relationships"><Relationship Id="rId6" Type="http://schemas.openxmlformats.org/officeDocument/2006/relationships/slideLayout" Target="../slideLayouts/slideLayout18.xml"/><Relationship Id="rId5" Type="http://schemas.openxmlformats.org/officeDocument/2006/relationships/tags" Target="../tags/tag149.xml"/><Relationship Id="rId4" Type="http://schemas.openxmlformats.org/officeDocument/2006/relationships/tags" Target="../tags/tag148.xml"/><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ags" Target="../tags/tag145.xml"/></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17.xml"/><Relationship Id="rId7" Type="http://schemas.openxmlformats.org/officeDocument/2006/relationships/tags" Target="../tags/tag156.xml"/><Relationship Id="rId6" Type="http://schemas.openxmlformats.org/officeDocument/2006/relationships/tags" Target="../tags/tag155.xml"/><Relationship Id="rId5" Type="http://schemas.openxmlformats.org/officeDocument/2006/relationships/tags" Target="../tags/tag154.xml"/><Relationship Id="rId4" Type="http://schemas.openxmlformats.org/officeDocument/2006/relationships/tags" Target="../tags/tag153.xml"/><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s>
</file>

<file path=ppt/slides/_rels/slide18.xml.rels><?xml version="1.0" encoding="UTF-8" standalone="yes"?>
<Relationships xmlns="http://schemas.openxmlformats.org/package/2006/relationships"><Relationship Id="rId7" Type="http://schemas.openxmlformats.org/officeDocument/2006/relationships/slideLayout" Target="../slideLayouts/slideLayout17.xml"/><Relationship Id="rId6" Type="http://schemas.openxmlformats.org/officeDocument/2006/relationships/tags" Target="../tags/tag162.xml"/><Relationship Id="rId5" Type="http://schemas.openxmlformats.org/officeDocument/2006/relationships/tags" Target="../tags/tag161.xml"/><Relationship Id="rId4" Type="http://schemas.openxmlformats.org/officeDocument/2006/relationships/tags" Target="../tags/tag160.xml"/><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tags" Target="../tags/tag157.xml"/></Relationships>
</file>

<file path=ppt/slides/_rels/slide19.xml.rels><?xml version="1.0" encoding="UTF-8" standalone="yes"?>
<Relationships xmlns="http://schemas.openxmlformats.org/package/2006/relationships"><Relationship Id="rId9" Type="http://schemas.openxmlformats.org/officeDocument/2006/relationships/image" Target="../media/image4.jpeg"/><Relationship Id="rId8" Type="http://schemas.openxmlformats.org/officeDocument/2006/relationships/tags" Target="../tags/tag170.xml"/><Relationship Id="rId7" Type="http://schemas.openxmlformats.org/officeDocument/2006/relationships/tags" Target="../tags/tag169.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3" Type="http://schemas.openxmlformats.org/officeDocument/2006/relationships/tags" Target="../tags/tag165.xml"/><Relationship Id="rId2" Type="http://schemas.openxmlformats.org/officeDocument/2006/relationships/tags" Target="../tags/tag164.xml"/><Relationship Id="rId10" Type="http://schemas.openxmlformats.org/officeDocument/2006/relationships/slideLayout" Target="../slideLayouts/slideLayout17.xml"/><Relationship Id="rId1" Type="http://schemas.openxmlformats.org/officeDocument/2006/relationships/tags" Target="../tags/tag163.xml"/></Relationships>
</file>

<file path=ppt/slides/_rels/slide2.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7" Type="http://schemas.openxmlformats.org/officeDocument/2006/relationships/slideLayout" Target="../slideLayouts/slideLayout17.x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ags" Target="../tags/tag171.xml"/></Relationships>
</file>

<file path=ppt/slides/_rels/slide21.xml.rels><?xml version="1.0" encoding="UTF-8" standalone="yes"?>
<Relationships xmlns="http://schemas.openxmlformats.org/package/2006/relationships"><Relationship Id="rId9" Type="http://schemas.openxmlformats.org/officeDocument/2006/relationships/image" Target="../media/image4.jpeg"/><Relationship Id="rId8" Type="http://schemas.openxmlformats.org/officeDocument/2006/relationships/tags" Target="../tags/tag183.xml"/><Relationship Id="rId7" Type="http://schemas.openxmlformats.org/officeDocument/2006/relationships/image" Target="../media/image71.jpeg"/><Relationship Id="rId6" Type="http://schemas.openxmlformats.org/officeDocument/2006/relationships/tags" Target="../tags/tag182.xml"/><Relationship Id="rId5" Type="http://schemas.openxmlformats.org/officeDocument/2006/relationships/tags" Target="../tags/tag181.xml"/><Relationship Id="rId4" Type="http://schemas.openxmlformats.org/officeDocument/2006/relationships/tags" Target="../tags/tag180.xml"/><Relationship Id="rId3" Type="http://schemas.openxmlformats.org/officeDocument/2006/relationships/tags" Target="../tags/tag179.xml"/><Relationship Id="rId2" Type="http://schemas.openxmlformats.org/officeDocument/2006/relationships/tags" Target="../tags/tag178.xml"/><Relationship Id="rId10" Type="http://schemas.openxmlformats.org/officeDocument/2006/relationships/slideLayout" Target="../slideLayouts/slideLayout17.xml"/><Relationship Id="rId1" Type="http://schemas.openxmlformats.org/officeDocument/2006/relationships/tags" Target="../tags/tag17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4" Type="http://schemas.openxmlformats.org/officeDocument/2006/relationships/slideLayout" Target="../slideLayouts/slideLayout18.xml"/><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s>
</file>

<file path=ppt/slides/_rels/slide24.xml.rels><?xml version="1.0" encoding="UTF-8" standalone="yes"?>
<Relationships xmlns="http://schemas.openxmlformats.org/package/2006/relationships"><Relationship Id="rId9" Type="http://schemas.openxmlformats.org/officeDocument/2006/relationships/tags" Target="../tags/tag195.xml"/><Relationship Id="rId8" Type="http://schemas.openxmlformats.org/officeDocument/2006/relationships/tags" Target="../tags/tag194.xml"/><Relationship Id="rId7" Type="http://schemas.openxmlformats.org/officeDocument/2006/relationships/tags" Target="../tags/tag193.xml"/><Relationship Id="rId6" Type="http://schemas.openxmlformats.org/officeDocument/2006/relationships/tags" Target="../tags/tag192.xml"/><Relationship Id="rId5" Type="http://schemas.openxmlformats.org/officeDocument/2006/relationships/tags" Target="../tags/tag191.xml"/><Relationship Id="rId4" Type="http://schemas.openxmlformats.org/officeDocument/2006/relationships/tags" Target="../tags/tag190.xml"/><Relationship Id="rId3" Type="http://schemas.openxmlformats.org/officeDocument/2006/relationships/tags" Target="../tags/tag189.xml"/><Relationship Id="rId2" Type="http://schemas.openxmlformats.org/officeDocument/2006/relationships/tags" Target="../tags/tag188.xml"/><Relationship Id="rId17" Type="http://schemas.openxmlformats.org/officeDocument/2006/relationships/slideLayout" Target="../slideLayouts/slideLayout18.xml"/><Relationship Id="rId16" Type="http://schemas.openxmlformats.org/officeDocument/2006/relationships/tags" Target="../tags/tag202.xml"/><Relationship Id="rId15" Type="http://schemas.openxmlformats.org/officeDocument/2006/relationships/tags" Target="../tags/tag201.xml"/><Relationship Id="rId14" Type="http://schemas.openxmlformats.org/officeDocument/2006/relationships/tags" Target="../tags/tag200.xml"/><Relationship Id="rId13" Type="http://schemas.openxmlformats.org/officeDocument/2006/relationships/tags" Target="../tags/tag199.xml"/><Relationship Id="rId12" Type="http://schemas.openxmlformats.org/officeDocument/2006/relationships/tags" Target="../tags/tag198.xml"/><Relationship Id="rId11" Type="http://schemas.openxmlformats.org/officeDocument/2006/relationships/tags" Target="../tags/tag197.xml"/><Relationship Id="rId10" Type="http://schemas.openxmlformats.org/officeDocument/2006/relationships/tags" Target="../tags/tag196.xml"/><Relationship Id="rId1" Type="http://schemas.openxmlformats.org/officeDocument/2006/relationships/tags" Target="../tags/tag187.xml"/></Relationships>
</file>

<file path=ppt/slides/_rels/slide25.xml.rels><?xml version="1.0" encoding="UTF-8" standalone="yes"?>
<Relationships xmlns="http://schemas.openxmlformats.org/package/2006/relationships"><Relationship Id="rId9" Type="http://schemas.openxmlformats.org/officeDocument/2006/relationships/tags" Target="../tags/tag211.xml"/><Relationship Id="rId8" Type="http://schemas.openxmlformats.org/officeDocument/2006/relationships/tags" Target="../tags/tag210.xml"/><Relationship Id="rId7" Type="http://schemas.openxmlformats.org/officeDocument/2006/relationships/tags" Target="../tags/tag209.xml"/><Relationship Id="rId6" Type="http://schemas.openxmlformats.org/officeDocument/2006/relationships/tags" Target="../tags/tag208.xml"/><Relationship Id="rId5" Type="http://schemas.openxmlformats.org/officeDocument/2006/relationships/tags" Target="../tags/tag207.xml"/><Relationship Id="rId4" Type="http://schemas.openxmlformats.org/officeDocument/2006/relationships/tags" Target="../tags/tag206.xml"/><Relationship Id="rId3" Type="http://schemas.openxmlformats.org/officeDocument/2006/relationships/tags" Target="../tags/tag205.xml"/><Relationship Id="rId2" Type="http://schemas.openxmlformats.org/officeDocument/2006/relationships/tags" Target="../tags/tag204.xml"/><Relationship Id="rId13" Type="http://schemas.openxmlformats.org/officeDocument/2006/relationships/slideLayout" Target="../slideLayouts/slideLayout18.xml"/><Relationship Id="rId12" Type="http://schemas.openxmlformats.org/officeDocument/2006/relationships/tags" Target="../tags/tag214.xml"/><Relationship Id="rId11" Type="http://schemas.openxmlformats.org/officeDocument/2006/relationships/tags" Target="../tags/tag213.xml"/><Relationship Id="rId10" Type="http://schemas.openxmlformats.org/officeDocument/2006/relationships/tags" Target="../tags/tag212.xml"/><Relationship Id="rId1" Type="http://schemas.openxmlformats.org/officeDocument/2006/relationships/tags" Target="../tags/tag20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6" Type="http://schemas.openxmlformats.org/officeDocument/2006/relationships/notesSlide" Target="../notesSlides/notesSlide6.xml"/><Relationship Id="rId5" Type="http://schemas.openxmlformats.org/officeDocument/2006/relationships/slideLayout" Target="../slideLayouts/slideLayout18.xml"/><Relationship Id="rId4" Type="http://schemas.openxmlformats.org/officeDocument/2006/relationships/tags" Target="../tags/tag218.xml"/><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tags" Target="../tags/tag21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image" Target="../media/image72.jpeg"/></Relationships>
</file>

<file path=ppt/slides/_rels/slide29.xml.rels><?xml version="1.0" encoding="UTF-8" standalone="yes"?>
<Relationships xmlns="http://schemas.openxmlformats.org/package/2006/relationships"><Relationship Id="rId9" Type="http://schemas.openxmlformats.org/officeDocument/2006/relationships/slideLayout" Target="../slideLayouts/slideLayout18.xml"/><Relationship Id="rId8" Type="http://schemas.openxmlformats.org/officeDocument/2006/relationships/tags" Target="../tags/tag225.xml"/><Relationship Id="rId7" Type="http://schemas.openxmlformats.org/officeDocument/2006/relationships/tags" Target="../tags/tag224.xml"/><Relationship Id="rId6" Type="http://schemas.openxmlformats.org/officeDocument/2006/relationships/tags" Target="../tags/tag223.xml"/><Relationship Id="rId5" Type="http://schemas.openxmlformats.org/officeDocument/2006/relationships/tags" Target="../tags/tag222.xml"/><Relationship Id="rId4" Type="http://schemas.openxmlformats.org/officeDocument/2006/relationships/tags" Target="../tags/tag221.xml"/><Relationship Id="rId3" Type="http://schemas.openxmlformats.org/officeDocument/2006/relationships/image" Target="../media/image73.jpeg"/><Relationship Id="rId2" Type="http://schemas.openxmlformats.org/officeDocument/2006/relationships/tags" Target="../tags/tag220.xml"/><Relationship Id="rId10" Type="http://schemas.openxmlformats.org/officeDocument/2006/relationships/notesSlide" Target="../notesSlides/notesSlide8.xml"/><Relationship Id="rId1" Type="http://schemas.openxmlformats.org/officeDocument/2006/relationships/tags" Target="../tags/tag2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6" Type="http://schemas.openxmlformats.org/officeDocument/2006/relationships/vmlDrawing" Target="../drawings/vmlDrawing4.vml"/><Relationship Id="rId5" Type="http://schemas.openxmlformats.org/officeDocument/2006/relationships/slideLayout" Target="../slideLayouts/slideLayout12.xml"/><Relationship Id="rId4" Type="http://schemas.openxmlformats.org/officeDocument/2006/relationships/image" Target="../media/image3.png"/><Relationship Id="rId3" Type="http://schemas.openxmlformats.org/officeDocument/2006/relationships/image" Target="../media/image1.emf"/><Relationship Id="rId2" Type="http://schemas.openxmlformats.org/officeDocument/2006/relationships/oleObject" Target="../embeddings/oleObject4.bin"/><Relationship Id="rId1" Type="http://schemas.openxmlformats.org/officeDocument/2006/relationships/tags" Target="../tags/tag226.xml"/></Relationships>
</file>

<file path=ppt/slides/_rels/slide4.xml.rels><?xml version="1.0" encoding="UTF-8" standalone="yes"?>
<Relationships xmlns="http://schemas.openxmlformats.org/package/2006/relationships"><Relationship Id="rId9" Type="http://schemas.openxmlformats.org/officeDocument/2006/relationships/tags" Target="../tags/tag14.xml"/><Relationship Id="rId8" Type="http://schemas.openxmlformats.org/officeDocument/2006/relationships/tags" Target="../tags/tag13.xml"/><Relationship Id="rId7" Type="http://schemas.openxmlformats.org/officeDocument/2006/relationships/tags" Target="../tags/tag12.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30" Type="http://schemas.openxmlformats.org/officeDocument/2006/relationships/notesSlide" Target="../notesSlides/notesSlide1.xml"/><Relationship Id="rId3" Type="http://schemas.openxmlformats.org/officeDocument/2006/relationships/tags" Target="../tags/tag8.xml"/><Relationship Id="rId29" Type="http://schemas.openxmlformats.org/officeDocument/2006/relationships/slideLayout" Target="../slideLayouts/slideLayout24.xml"/><Relationship Id="rId28" Type="http://schemas.openxmlformats.org/officeDocument/2006/relationships/tags" Target="../tags/tag30.xml"/><Relationship Id="rId27" Type="http://schemas.openxmlformats.org/officeDocument/2006/relationships/tags" Target="../tags/tag29.xml"/><Relationship Id="rId26" Type="http://schemas.openxmlformats.org/officeDocument/2006/relationships/tags" Target="../tags/tag28.xml"/><Relationship Id="rId25" Type="http://schemas.openxmlformats.org/officeDocument/2006/relationships/image" Target="../media/image7.png"/><Relationship Id="rId24" Type="http://schemas.openxmlformats.org/officeDocument/2006/relationships/tags" Target="../tags/tag27.xml"/><Relationship Id="rId23" Type="http://schemas.openxmlformats.org/officeDocument/2006/relationships/tags" Target="../tags/tag26.xml"/><Relationship Id="rId22" Type="http://schemas.openxmlformats.org/officeDocument/2006/relationships/tags" Target="../tags/tag25.xml"/><Relationship Id="rId21" Type="http://schemas.microsoft.com/office/2007/relationships/hdphoto" Target="../media/image6.wdp"/><Relationship Id="rId20" Type="http://schemas.openxmlformats.org/officeDocument/2006/relationships/image" Target="../media/image5.png"/><Relationship Id="rId2" Type="http://schemas.openxmlformats.org/officeDocument/2006/relationships/image" Target="../media/image4.jpeg"/><Relationship Id="rId19" Type="http://schemas.openxmlformats.org/officeDocument/2006/relationships/tags" Target="../tags/tag24.xml"/><Relationship Id="rId18" Type="http://schemas.openxmlformats.org/officeDocument/2006/relationships/tags" Target="../tags/tag23.xml"/><Relationship Id="rId17" Type="http://schemas.openxmlformats.org/officeDocument/2006/relationships/tags" Target="../tags/tag22.xml"/><Relationship Id="rId16" Type="http://schemas.openxmlformats.org/officeDocument/2006/relationships/tags" Target="../tags/tag21.xml"/><Relationship Id="rId15" Type="http://schemas.openxmlformats.org/officeDocument/2006/relationships/tags" Target="../tags/tag20.xml"/><Relationship Id="rId14" Type="http://schemas.openxmlformats.org/officeDocument/2006/relationships/tags" Target="../tags/tag19.xml"/><Relationship Id="rId13" Type="http://schemas.openxmlformats.org/officeDocument/2006/relationships/tags" Target="../tags/tag18.xml"/><Relationship Id="rId12" Type="http://schemas.openxmlformats.org/officeDocument/2006/relationships/tags" Target="../tags/tag17.xml"/><Relationship Id="rId11" Type="http://schemas.openxmlformats.org/officeDocument/2006/relationships/tags" Target="../tags/tag16.xml"/><Relationship Id="rId10" Type="http://schemas.openxmlformats.org/officeDocument/2006/relationships/tags" Target="../tags/tag15.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9" Type="http://schemas.openxmlformats.org/officeDocument/2006/relationships/notesSlide" Target="../notesSlides/notesSlide2.xml"/><Relationship Id="rId8" Type="http://schemas.openxmlformats.org/officeDocument/2006/relationships/slideLayout" Target="../slideLayouts/slideLayout24.xml"/><Relationship Id="rId7" Type="http://schemas.openxmlformats.org/officeDocument/2006/relationships/tags" Target="../tags/tag35.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image" Target="../media/image8.png"/><Relationship Id="rId3" Type="http://schemas.openxmlformats.org/officeDocument/2006/relationships/tags" Target="../tags/tag32.xml"/><Relationship Id="rId2" Type="http://schemas.openxmlformats.org/officeDocument/2006/relationships/image" Target="../media/image4.jpeg"/><Relationship Id="rId1" Type="http://schemas.openxmlformats.org/officeDocument/2006/relationships/tags" Target="../tags/tag31.xml"/></Relationships>
</file>

<file path=ppt/slides/_rels/slide6.xml.rels><?xml version="1.0" encoding="UTF-8" standalone="yes"?>
<Relationships xmlns="http://schemas.openxmlformats.org/package/2006/relationships"><Relationship Id="rId99" Type="http://schemas.openxmlformats.org/officeDocument/2006/relationships/image" Target="../media/image46.png"/><Relationship Id="rId98" Type="http://schemas.openxmlformats.org/officeDocument/2006/relationships/tags" Target="../tags/tag95.xml"/><Relationship Id="rId97" Type="http://schemas.openxmlformats.org/officeDocument/2006/relationships/image" Target="../media/image45.png"/><Relationship Id="rId96" Type="http://schemas.openxmlformats.org/officeDocument/2006/relationships/tags" Target="../tags/tag94.xml"/><Relationship Id="rId95" Type="http://schemas.openxmlformats.org/officeDocument/2006/relationships/image" Target="../media/image44.png"/><Relationship Id="rId94" Type="http://schemas.openxmlformats.org/officeDocument/2006/relationships/tags" Target="../tags/tag93.xml"/><Relationship Id="rId93" Type="http://schemas.openxmlformats.org/officeDocument/2006/relationships/image" Target="../media/image43.png"/><Relationship Id="rId92" Type="http://schemas.openxmlformats.org/officeDocument/2006/relationships/tags" Target="../tags/tag92.xml"/><Relationship Id="rId91" Type="http://schemas.openxmlformats.org/officeDocument/2006/relationships/image" Target="../media/image42.png"/><Relationship Id="rId90" Type="http://schemas.openxmlformats.org/officeDocument/2006/relationships/tags" Target="../tags/tag91.xml"/><Relationship Id="rId9" Type="http://schemas.openxmlformats.org/officeDocument/2006/relationships/image" Target="../media/image9.jpeg"/><Relationship Id="rId89" Type="http://schemas.openxmlformats.org/officeDocument/2006/relationships/image" Target="../media/image41.png"/><Relationship Id="rId88" Type="http://schemas.openxmlformats.org/officeDocument/2006/relationships/tags" Target="../tags/tag90.xml"/><Relationship Id="rId87" Type="http://schemas.openxmlformats.org/officeDocument/2006/relationships/image" Target="../media/image40.png"/><Relationship Id="rId86" Type="http://schemas.openxmlformats.org/officeDocument/2006/relationships/tags" Target="../tags/tag89.xml"/><Relationship Id="rId85" Type="http://schemas.openxmlformats.org/officeDocument/2006/relationships/image" Target="../media/image39.png"/><Relationship Id="rId84" Type="http://schemas.openxmlformats.org/officeDocument/2006/relationships/tags" Target="../tags/tag88.xml"/><Relationship Id="rId83" Type="http://schemas.openxmlformats.org/officeDocument/2006/relationships/image" Target="../media/image38.png"/><Relationship Id="rId82" Type="http://schemas.openxmlformats.org/officeDocument/2006/relationships/tags" Target="../tags/tag87.xml"/><Relationship Id="rId81" Type="http://schemas.openxmlformats.org/officeDocument/2006/relationships/image" Target="../media/image37.png"/><Relationship Id="rId80" Type="http://schemas.openxmlformats.org/officeDocument/2006/relationships/tags" Target="../tags/tag86.xml"/><Relationship Id="rId8" Type="http://schemas.openxmlformats.org/officeDocument/2006/relationships/tags" Target="../tags/tag42.xml"/><Relationship Id="rId79" Type="http://schemas.openxmlformats.org/officeDocument/2006/relationships/image" Target="../media/image36.png"/><Relationship Id="rId78" Type="http://schemas.openxmlformats.org/officeDocument/2006/relationships/tags" Target="../tags/tag85.xml"/><Relationship Id="rId77" Type="http://schemas.openxmlformats.org/officeDocument/2006/relationships/image" Target="../media/image35.png"/><Relationship Id="rId76" Type="http://schemas.openxmlformats.org/officeDocument/2006/relationships/tags" Target="../tags/tag84.xml"/><Relationship Id="rId75" Type="http://schemas.openxmlformats.org/officeDocument/2006/relationships/image" Target="../media/image34.png"/><Relationship Id="rId74" Type="http://schemas.openxmlformats.org/officeDocument/2006/relationships/tags" Target="../tags/tag83.xml"/><Relationship Id="rId73" Type="http://schemas.openxmlformats.org/officeDocument/2006/relationships/image" Target="../media/image33.png"/><Relationship Id="rId72" Type="http://schemas.openxmlformats.org/officeDocument/2006/relationships/tags" Target="../tags/tag82.xml"/><Relationship Id="rId71" Type="http://schemas.openxmlformats.org/officeDocument/2006/relationships/image" Target="../media/image32.png"/><Relationship Id="rId70" Type="http://schemas.openxmlformats.org/officeDocument/2006/relationships/tags" Target="../tags/tag81.xml"/><Relationship Id="rId7" Type="http://schemas.openxmlformats.org/officeDocument/2006/relationships/tags" Target="../tags/tag41.xml"/><Relationship Id="rId69" Type="http://schemas.openxmlformats.org/officeDocument/2006/relationships/image" Target="../media/image31.png"/><Relationship Id="rId68" Type="http://schemas.openxmlformats.org/officeDocument/2006/relationships/tags" Target="../tags/tag80.xml"/><Relationship Id="rId67" Type="http://schemas.openxmlformats.org/officeDocument/2006/relationships/image" Target="../media/image30.png"/><Relationship Id="rId66" Type="http://schemas.openxmlformats.org/officeDocument/2006/relationships/tags" Target="../tags/tag79.xml"/><Relationship Id="rId65" Type="http://schemas.openxmlformats.org/officeDocument/2006/relationships/image" Target="../media/image29.png"/><Relationship Id="rId64" Type="http://schemas.openxmlformats.org/officeDocument/2006/relationships/tags" Target="../tags/tag78.xml"/><Relationship Id="rId63" Type="http://schemas.openxmlformats.org/officeDocument/2006/relationships/tags" Target="../tags/tag77.xml"/><Relationship Id="rId62" Type="http://schemas.openxmlformats.org/officeDocument/2006/relationships/image" Target="../media/image28.png"/><Relationship Id="rId61" Type="http://schemas.openxmlformats.org/officeDocument/2006/relationships/tags" Target="../tags/tag76.xml"/><Relationship Id="rId60" Type="http://schemas.openxmlformats.org/officeDocument/2006/relationships/image" Target="../media/image27.png"/><Relationship Id="rId6" Type="http://schemas.openxmlformats.org/officeDocument/2006/relationships/tags" Target="../tags/tag40.xml"/><Relationship Id="rId59" Type="http://schemas.openxmlformats.org/officeDocument/2006/relationships/tags" Target="../tags/tag75.xml"/><Relationship Id="rId58" Type="http://schemas.openxmlformats.org/officeDocument/2006/relationships/image" Target="../media/image26.png"/><Relationship Id="rId57" Type="http://schemas.openxmlformats.org/officeDocument/2006/relationships/tags" Target="../tags/tag74.xml"/><Relationship Id="rId56" Type="http://schemas.openxmlformats.org/officeDocument/2006/relationships/image" Target="../media/image25.png"/><Relationship Id="rId55" Type="http://schemas.openxmlformats.org/officeDocument/2006/relationships/tags" Target="../tags/tag73.xml"/><Relationship Id="rId54" Type="http://schemas.openxmlformats.org/officeDocument/2006/relationships/image" Target="../media/image24.png"/><Relationship Id="rId53" Type="http://schemas.openxmlformats.org/officeDocument/2006/relationships/tags" Target="../tags/tag72.xml"/><Relationship Id="rId52" Type="http://schemas.openxmlformats.org/officeDocument/2006/relationships/tags" Target="../tags/tag71.xml"/><Relationship Id="rId51" Type="http://schemas.openxmlformats.org/officeDocument/2006/relationships/tags" Target="../tags/tag70.xml"/><Relationship Id="rId50" Type="http://schemas.openxmlformats.org/officeDocument/2006/relationships/tags" Target="../tags/tag69.xml"/><Relationship Id="rId5" Type="http://schemas.openxmlformats.org/officeDocument/2006/relationships/tags" Target="../tags/tag39.xml"/><Relationship Id="rId49" Type="http://schemas.openxmlformats.org/officeDocument/2006/relationships/tags" Target="../tags/tag68.xml"/><Relationship Id="rId48" Type="http://schemas.openxmlformats.org/officeDocument/2006/relationships/tags" Target="../tags/tag67.xml"/><Relationship Id="rId47" Type="http://schemas.openxmlformats.org/officeDocument/2006/relationships/image" Target="../media/image23.jpeg"/><Relationship Id="rId46" Type="http://schemas.openxmlformats.org/officeDocument/2006/relationships/tags" Target="../tags/tag66.xml"/><Relationship Id="rId45" Type="http://schemas.openxmlformats.org/officeDocument/2006/relationships/image" Target="../media/image22.jpeg"/><Relationship Id="rId44" Type="http://schemas.openxmlformats.org/officeDocument/2006/relationships/tags" Target="../tags/tag65.xml"/><Relationship Id="rId43" Type="http://schemas.openxmlformats.org/officeDocument/2006/relationships/image" Target="../media/image21.png"/><Relationship Id="rId42" Type="http://schemas.openxmlformats.org/officeDocument/2006/relationships/tags" Target="../tags/tag64.xml"/><Relationship Id="rId41" Type="http://schemas.openxmlformats.org/officeDocument/2006/relationships/image" Target="../media/image20.png"/><Relationship Id="rId40" Type="http://schemas.openxmlformats.org/officeDocument/2006/relationships/tags" Target="../tags/tag63.xml"/><Relationship Id="rId4" Type="http://schemas.openxmlformats.org/officeDocument/2006/relationships/tags" Target="../tags/tag38.xml"/><Relationship Id="rId39" Type="http://schemas.openxmlformats.org/officeDocument/2006/relationships/image" Target="../media/image19.png"/><Relationship Id="rId38" Type="http://schemas.openxmlformats.org/officeDocument/2006/relationships/tags" Target="../tags/tag62.xml"/><Relationship Id="rId37" Type="http://schemas.openxmlformats.org/officeDocument/2006/relationships/tags" Target="../tags/tag61.xml"/><Relationship Id="rId36" Type="http://schemas.openxmlformats.org/officeDocument/2006/relationships/tags" Target="../tags/tag60.xml"/><Relationship Id="rId35" Type="http://schemas.openxmlformats.org/officeDocument/2006/relationships/tags" Target="../tags/tag59.xml"/><Relationship Id="rId34" Type="http://schemas.openxmlformats.org/officeDocument/2006/relationships/tags" Target="../tags/tag58.xml"/><Relationship Id="rId33" Type="http://schemas.openxmlformats.org/officeDocument/2006/relationships/tags" Target="../tags/tag57.xml"/><Relationship Id="rId32" Type="http://schemas.openxmlformats.org/officeDocument/2006/relationships/image" Target="../media/image18.png"/><Relationship Id="rId31" Type="http://schemas.openxmlformats.org/officeDocument/2006/relationships/tags" Target="../tags/tag56.xml"/><Relationship Id="rId30" Type="http://schemas.openxmlformats.org/officeDocument/2006/relationships/image" Target="../media/image17.png"/><Relationship Id="rId3" Type="http://schemas.openxmlformats.org/officeDocument/2006/relationships/tags" Target="../tags/tag37.xml"/><Relationship Id="rId29" Type="http://schemas.openxmlformats.org/officeDocument/2006/relationships/tags" Target="../tags/tag55.xml"/><Relationship Id="rId28" Type="http://schemas.openxmlformats.org/officeDocument/2006/relationships/image" Target="../media/image16.png"/><Relationship Id="rId27" Type="http://schemas.openxmlformats.org/officeDocument/2006/relationships/tags" Target="../tags/tag54.xml"/><Relationship Id="rId26" Type="http://schemas.openxmlformats.org/officeDocument/2006/relationships/image" Target="../media/image15.png"/><Relationship Id="rId25" Type="http://schemas.openxmlformats.org/officeDocument/2006/relationships/tags" Target="../tags/tag53.xml"/><Relationship Id="rId24" Type="http://schemas.openxmlformats.org/officeDocument/2006/relationships/image" Target="../media/image14.png"/><Relationship Id="rId23" Type="http://schemas.openxmlformats.org/officeDocument/2006/relationships/tags" Target="../tags/tag52.xml"/><Relationship Id="rId22" Type="http://schemas.openxmlformats.org/officeDocument/2006/relationships/tags" Target="../tags/tag51.xml"/><Relationship Id="rId21" Type="http://schemas.openxmlformats.org/officeDocument/2006/relationships/tags" Target="../tags/tag50.xml"/><Relationship Id="rId20" Type="http://schemas.openxmlformats.org/officeDocument/2006/relationships/tags" Target="../tags/tag49.xml"/><Relationship Id="rId2" Type="http://schemas.openxmlformats.org/officeDocument/2006/relationships/image" Target="../media/image4.jpeg"/><Relationship Id="rId19" Type="http://schemas.openxmlformats.org/officeDocument/2006/relationships/tags" Target="../tags/tag48.xml"/><Relationship Id="rId18" Type="http://schemas.openxmlformats.org/officeDocument/2006/relationships/tags" Target="../tags/tag47.xml"/><Relationship Id="rId17" Type="http://schemas.openxmlformats.org/officeDocument/2006/relationships/image" Target="../media/image13.png"/><Relationship Id="rId16" Type="http://schemas.openxmlformats.org/officeDocument/2006/relationships/tags" Target="../tags/tag46.xml"/><Relationship Id="rId15" Type="http://schemas.openxmlformats.org/officeDocument/2006/relationships/image" Target="../media/image12.jpeg"/><Relationship Id="rId14" Type="http://schemas.openxmlformats.org/officeDocument/2006/relationships/tags" Target="../tags/tag45.xml"/><Relationship Id="rId13" Type="http://schemas.openxmlformats.org/officeDocument/2006/relationships/image" Target="../media/image11.jpeg"/><Relationship Id="rId126" Type="http://schemas.openxmlformats.org/officeDocument/2006/relationships/notesSlide" Target="../notesSlides/notesSlide3.xml"/><Relationship Id="rId125" Type="http://schemas.openxmlformats.org/officeDocument/2006/relationships/slideLayout" Target="../slideLayouts/slideLayout24.xml"/><Relationship Id="rId124" Type="http://schemas.openxmlformats.org/officeDocument/2006/relationships/tags" Target="../tags/tag108.xml"/><Relationship Id="rId123" Type="http://schemas.openxmlformats.org/officeDocument/2006/relationships/image" Target="../media/image58.png"/><Relationship Id="rId122" Type="http://schemas.openxmlformats.org/officeDocument/2006/relationships/tags" Target="../tags/tag107.xml"/><Relationship Id="rId121" Type="http://schemas.openxmlformats.org/officeDocument/2006/relationships/image" Target="../media/image57.png"/><Relationship Id="rId120" Type="http://schemas.openxmlformats.org/officeDocument/2006/relationships/tags" Target="../tags/tag106.xml"/><Relationship Id="rId12" Type="http://schemas.openxmlformats.org/officeDocument/2006/relationships/tags" Target="../tags/tag44.xml"/><Relationship Id="rId119" Type="http://schemas.openxmlformats.org/officeDocument/2006/relationships/image" Target="../media/image56.png"/><Relationship Id="rId118" Type="http://schemas.openxmlformats.org/officeDocument/2006/relationships/tags" Target="../tags/tag105.xml"/><Relationship Id="rId117" Type="http://schemas.openxmlformats.org/officeDocument/2006/relationships/image" Target="../media/image55.png"/><Relationship Id="rId116" Type="http://schemas.openxmlformats.org/officeDocument/2006/relationships/tags" Target="../tags/tag104.xml"/><Relationship Id="rId115" Type="http://schemas.openxmlformats.org/officeDocument/2006/relationships/image" Target="../media/image54.png"/><Relationship Id="rId114" Type="http://schemas.openxmlformats.org/officeDocument/2006/relationships/tags" Target="../tags/tag103.xml"/><Relationship Id="rId113" Type="http://schemas.openxmlformats.org/officeDocument/2006/relationships/image" Target="../media/image53.png"/><Relationship Id="rId112" Type="http://schemas.openxmlformats.org/officeDocument/2006/relationships/tags" Target="../tags/tag102.xml"/><Relationship Id="rId111" Type="http://schemas.openxmlformats.org/officeDocument/2006/relationships/image" Target="../media/image52.png"/><Relationship Id="rId110" Type="http://schemas.openxmlformats.org/officeDocument/2006/relationships/tags" Target="../tags/tag101.xml"/><Relationship Id="rId11" Type="http://schemas.openxmlformats.org/officeDocument/2006/relationships/image" Target="../media/image10.jpeg"/><Relationship Id="rId109" Type="http://schemas.openxmlformats.org/officeDocument/2006/relationships/image" Target="../media/image51.png"/><Relationship Id="rId108" Type="http://schemas.openxmlformats.org/officeDocument/2006/relationships/tags" Target="../tags/tag100.xml"/><Relationship Id="rId107" Type="http://schemas.openxmlformats.org/officeDocument/2006/relationships/image" Target="../media/image50.png"/><Relationship Id="rId106" Type="http://schemas.openxmlformats.org/officeDocument/2006/relationships/tags" Target="../tags/tag99.xml"/><Relationship Id="rId105" Type="http://schemas.openxmlformats.org/officeDocument/2006/relationships/image" Target="../media/image49.png"/><Relationship Id="rId104" Type="http://schemas.openxmlformats.org/officeDocument/2006/relationships/tags" Target="../tags/tag98.xml"/><Relationship Id="rId103" Type="http://schemas.openxmlformats.org/officeDocument/2006/relationships/image" Target="../media/image48.png"/><Relationship Id="rId102" Type="http://schemas.openxmlformats.org/officeDocument/2006/relationships/tags" Target="../tags/tag97.xml"/><Relationship Id="rId101" Type="http://schemas.openxmlformats.org/officeDocument/2006/relationships/image" Target="../media/image47.png"/><Relationship Id="rId100" Type="http://schemas.openxmlformats.org/officeDocument/2006/relationships/tags" Target="../tags/tag96.xml"/><Relationship Id="rId10" Type="http://schemas.openxmlformats.org/officeDocument/2006/relationships/tags" Target="../tags/tag43.xml"/><Relationship Id="rId1" Type="http://schemas.openxmlformats.org/officeDocument/2006/relationships/tags" Target="../tags/tag36.xml"/></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24.xml"/><Relationship Id="rId3" Type="http://schemas.openxmlformats.org/officeDocument/2006/relationships/image" Target="../media/image59.jpeg"/><Relationship Id="rId2" Type="http://schemas.openxmlformats.org/officeDocument/2006/relationships/image" Target="../media/image4.jpeg"/><Relationship Id="rId1" Type="http://schemas.openxmlformats.org/officeDocument/2006/relationships/tags" Target="../tags/tag109.xml"/></Relationships>
</file>

<file path=ppt/slides/_rels/slide8.xml.rels><?xml version="1.0" encoding="UTF-8" standalone="yes"?>
<Relationships xmlns="http://schemas.openxmlformats.org/package/2006/relationships"><Relationship Id="rId9" Type="http://schemas.openxmlformats.org/officeDocument/2006/relationships/notesSlide" Target="../notesSlides/notesSlide5.xml"/><Relationship Id="rId8" Type="http://schemas.openxmlformats.org/officeDocument/2006/relationships/slideLayout" Target="../slideLayouts/slideLayout24.xml"/><Relationship Id="rId7" Type="http://schemas.openxmlformats.org/officeDocument/2006/relationships/image" Target="../media/image4.jpeg"/><Relationship Id="rId6" Type="http://schemas.openxmlformats.org/officeDocument/2006/relationships/tags" Target="../tags/tag110.xml"/><Relationship Id="rId5" Type="http://schemas.openxmlformats.org/officeDocument/2006/relationships/image" Target="../media/image64.png"/><Relationship Id="rId4" Type="http://schemas.openxmlformats.org/officeDocument/2006/relationships/image" Target="../media/image63.png"/><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image" Target="../media/image6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Slide" r:id="rId2" imgW="8255" imgH="8255" progId="TCLayout.ActiveDocument.1">
                  <p:embed/>
                </p:oleObj>
              </mc:Choice>
              <mc:Fallback>
                <p:oleObj name="think-cell Slide" r:id="rId2" imgW="8255" imgH="825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6150" name="标题 3"/>
          <p:cNvSpPr>
            <a:spLocks noGrp="1"/>
          </p:cNvSpPr>
          <p:nvPr>
            <p:ph type="ctrTitle"/>
          </p:nvPr>
        </p:nvSpPr>
        <p:spPr>
          <a:xfrm>
            <a:off x="3668395" y="1503680"/>
            <a:ext cx="4573905" cy="1790700"/>
          </a:xfrm>
        </p:spPr>
        <p:txBody>
          <a:bodyPr vert="horz" wrap="square" lIns="0" tIns="0" rIns="0" bIns="0" anchor="b" anchorCtr="0">
            <a:noAutofit/>
          </a:bodyPr>
          <a:lstStyle/>
          <a:p>
            <a:pPr marL="0" indent="0" algn="ctr" defTabSz="0">
              <a:lnSpc>
                <a:spcPct val="150000"/>
              </a:lnSpc>
              <a:spcAft>
                <a:spcPct val="0"/>
              </a:spcAft>
              <a:buClrTx/>
              <a:buSzPct val="100000"/>
              <a:buFontTx/>
              <a:buNone/>
            </a:pPr>
            <a:r>
              <a:rPr lang="zh-CN" altLang="en-US" sz="4000" b="1" dirty="0">
                <a:solidFill>
                  <a:schemeClr val="accent1"/>
                </a:solidFill>
                <a:latin typeface="微软雅黑" panose="020B0503020204020204" charset="-122"/>
                <a:ea typeface="微软雅黑" panose="020B0503020204020204" charset="-122"/>
                <a:cs typeface="微软雅黑" panose="020B0503020204020204" charset="-122"/>
                <a:sym typeface="汉仪旗黑X1-55W" panose="00020600040101010101" pitchFamily="18" charset="-122"/>
              </a:rPr>
              <a:t>东方大地液化储配站</a:t>
            </a:r>
            <a:br>
              <a:rPr lang="zh-CN" altLang="en-US" sz="4000" b="1" dirty="0">
                <a:solidFill>
                  <a:schemeClr val="accent1"/>
                </a:solidFill>
                <a:latin typeface="微软雅黑" panose="020B0503020204020204" charset="-122"/>
                <a:ea typeface="微软雅黑" panose="020B0503020204020204" charset="-122"/>
                <a:cs typeface="微软雅黑" panose="020B0503020204020204" charset="-122"/>
                <a:sym typeface="汉仪旗黑X1-55W" panose="00020600040101010101" pitchFamily="18" charset="-122"/>
              </a:rPr>
            </a:br>
            <a:r>
              <a:rPr lang="zh-CN" altLang="en-US" sz="4000" b="1" dirty="0">
                <a:solidFill>
                  <a:schemeClr val="accent1"/>
                </a:solidFill>
                <a:latin typeface="微软雅黑" panose="020B0503020204020204" charset="-122"/>
                <a:ea typeface="微软雅黑" panose="020B0503020204020204" charset="-122"/>
                <a:cs typeface="微软雅黑" panose="020B0503020204020204" charset="-122"/>
                <a:sym typeface="汉仪旗黑X1-55W" panose="00020600040101010101" pitchFamily="18" charset="-122"/>
              </a:rPr>
              <a:t>保险项目介绍</a:t>
            </a:r>
            <a:endParaRPr lang="zh-CN" altLang="en-US" sz="4000" b="1" kern="1200" baseline="0" dirty="0">
              <a:solidFill>
                <a:schemeClr val="accent1"/>
              </a:solidFill>
              <a:latin typeface="微软雅黑" panose="020B0503020204020204" charset="-122"/>
              <a:ea typeface="微软雅黑" panose="020B0503020204020204" charset="-122"/>
              <a:cs typeface="微软雅黑" panose="020B0503020204020204" charset="-122"/>
              <a:sym typeface="汉仪旗黑X1-55W" panose="00020600040101010101" pitchFamily="18" charset="-122"/>
            </a:endParaRPr>
          </a:p>
        </p:txBody>
      </p:sp>
      <p:grpSp>
        <p:nvGrpSpPr>
          <p:cNvPr id="6" name="组合 5"/>
          <p:cNvGrpSpPr/>
          <p:nvPr/>
        </p:nvGrpSpPr>
        <p:grpSpPr>
          <a:xfrm>
            <a:off x="0" y="635"/>
            <a:ext cx="3281680" cy="5142230"/>
            <a:chOff x="0" y="1"/>
            <a:chExt cx="6618" cy="8098"/>
          </a:xfrm>
        </p:grpSpPr>
        <p:sp>
          <p:nvSpPr>
            <p:cNvPr id="18" name="Rectangle 17"/>
            <p:cNvSpPr/>
            <p:nvPr/>
          </p:nvSpPr>
          <p:spPr>
            <a:xfrm>
              <a:off x="1476" y="1"/>
              <a:ext cx="1850" cy="80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zh-CN" altLang="en-US"/>
            </a:p>
          </p:txBody>
        </p:sp>
        <p:grpSp>
          <p:nvGrpSpPr>
            <p:cNvPr id="5" name="组合 4"/>
            <p:cNvGrpSpPr/>
            <p:nvPr/>
          </p:nvGrpSpPr>
          <p:grpSpPr>
            <a:xfrm>
              <a:off x="0" y="1"/>
              <a:ext cx="6618" cy="8099"/>
              <a:chOff x="0" y="1"/>
              <a:chExt cx="6618" cy="8099"/>
            </a:xfrm>
          </p:grpSpPr>
          <p:sp>
            <p:nvSpPr>
              <p:cNvPr id="15" name="Isosceles Triangle 14"/>
              <p:cNvSpPr/>
              <p:nvPr/>
            </p:nvSpPr>
            <p:spPr>
              <a:xfrm rot="5400000">
                <a:off x="912" y="2394"/>
                <a:ext cx="8099" cy="3312"/>
              </a:xfrm>
              <a:prstGeom prst="triangle">
                <a:avLst>
                  <a:gd name="adj" fmla="val 49884"/>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zh-CN" altLang="en-US"/>
              </a:p>
            </p:txBody>
          </p:sp>
          <p:pic>
            <p:nvPicPr>
              <p:cNvPr id="17" name="Picture 16"/>
              <p:cNvPicPr/>
              <p:nvPr/>
            </p:nvPicPr>
            <p:blipFill>
              <a:blip r:embed="rId4"/>
              <a:srcRect/>
              <a:stretch>
                <a:fillRect/>
              </a:stretch>
            </p:blipFill>
            <p:spPr>
              <a:xfrm>
                <a:off x="0" y="1"/>
                <a:ext cx="5753" cy="8099"/>
              </a:xfrm>
              <a:custGeom>
                <a:avLst/>
                <a:gdLst>
                  <a:gd name="connsiteX0" fmla="*/ 0 w 4572000"/>
                  <a:gd name="connsiteY0" fmla="*/ 0 h 5143075"/>
                  <a:gd name="connsiteX1" fmla="*/ 4572000 w 4572000"/>
                  <a:gd name="connsiteY1" fmla="*/ 0 h 5143075"/>
                  <a:gd name="connsiteX2" fmla="*/ 4572000 w 4572000"/>
                  <a:gd name="connsiteY2" fmla="*/ 2008464 h 5143075"/>
                  <a:gd name="connsiteX3" fmla="*/ 3613495 w 4572000"/>
                  <a:gd name="connsiteY3" fmla="*/ 854708 h 5143075"/>
                  <a:gd name="connsiteX4" fmla="*/ 2800695 w 4572000"/>
                  <a:gd name="connsiteY4" fmla="*/ 1184908 h 5143075"/>
                  <a:gd name="connsiteX5" fmla="*/ 4113028 w 4572000"/>
                  <a:gd name="connsiteY5" fmla="*/ 2590375 h 5143075"/>
                  <a:gd name="connsiteX6" fmla="*/ 2792228 w 4572000"/>
                  <a:gd name="connsiteY6" fmla="*/ 3902708 h 5143075"/>
                  <a:gd name="connsiteX7" fmla="*/ 3774362 w 4572000"/>
                  <a:gd name="connsiteY7" fmla="*/ 4165175 h 5143075"/>
                  <a:gd name="connsiteX8" fmla="*/ 4572000 w 4572000"/>
                  <a:gd name="connsiteY8" fmla="*/ 3071909 h 5143075"/>
                  <a:gd name="connsiteX9" fmla="*/ 4572000 w 4572000"/>
                  <a:gd name="connsiteY9" fmla="*/ 5143075 h 5143075"/>
                  <a:gd name="connsiteX10" fmla="*/ 0 w 4572000"/>
                  <a:gd name="connsiteY10" fmla="*/ 5143075 h 514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2000" h="5143075">
                    <a:moveTo>
                      <a:pt x="0" y="0"/>
                    </a:moveTo>
                    <a:lnTo>
                      <a:pt x="4572000" y="0"/>
                    </a:lnTo>
                    <a:lnTo>
                      <a:pt x="4572000" y="2008464"/>
                    </a:lnTo>
                    <a:lnTo>
                      <a:pt x="3613495" y="854708"/>
                    </a:lnTo>
                    <a:lnTo>
                      <a:pt x="2800695" y="1184908"/>
                    </a:lnTo>
                    <a:lnTo>
                      <a:pt x="4113028" y="2590375"/>
                    </a:lnTo>
                    <a:lnTo>
                      <a:pt x="2792228" y="3902708"/>
                    </a:lnTo>
                    <a:lnTo>
                      <a:pt x="3774362" y="4165175"/>
                    </a:lnTo>
                    <a:lnTo>
                      <a:pt x="4572000" y="3071909"/>
                    </a:lnTo>
                    <a:lnTo>
                      <a:pt x="4572000" y="5143075"/>
                    </a:lnTo>
                    <a:lnTo>
                      <a:pt x="0" y="5143075"/>
                    </a:lnTo>
                    <a:close/>
                  </a:path>
                </a:pathLst>
              </a:custGeom>
            </p:spPr>
          </p:pic>
        </p:grpSp>
      </p:grpSp>
      <p:sp>
        <p:nvSpPr>
          <p:cNvPr id="25" name="Right Triangle 24"/>
          <p:cNvSpPr>
            <a:spLocks noChangeAspect="1"/>
          </p:cNvSpPr>
          <p:nvPr/>
        </p:nvSpPr>
        <p:spPr>
          <a:xfrm flipH="1" flipV="1">
            <a:off x="8365066" y="0"/>
            <a:ext cx="778933" cy="77893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hape4"/>
          <p:cNvGrpSpPr/>
          <p:nvPr/>
        </p:nvGrpSpPr>
        <p:grpSpPr>
          <a:xfrm>
            <a:off x="299618" y="412859"/>
            <a:ext cx="824633" cy="144001"/>
            <a:chOff x="7922707" y="4563003"/>
            <a:chExt cx="824632" cy="144000"/>
          </a:xfrm>
        </p:grpSpPr>
        <p:sp>
          <p:nvSpPr>
            <p:cNvPr id="1048638"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39"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40"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28"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29"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641" name="Shape5"/>
          <p:cNvSpPr txBox="1"/>
          <p:nvPr/>
        </p:nvSpPr>
        <p:spPr>
          <a:xfrm>
            <a:off x="1150409" y="338264"/>
            <a:ext cx="1652954"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鼎和保险简介</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sp>
        <p:nvSpPr>
          <p:cNvPr id="1048655" name="Shape7"/>
          <p:cNvSpPr/>
          <p:nvPr>
            <p:custDataLst>
              <p:tags r:id="rId1"/>
            </p:custDataLst>
          </p:nvPr>
        </p:nvSpPr>
        <p:spPr>
          <a:xfrm>
            <a:off x="-9049" y="935355"/>
            <a:ext cx="5177790" cy="42081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grpSp>
        <p:nvGrpSpPr>
          <p:cNvPr id="2" name="组合 1"/>
          <p:cNvGrpSpPr/>
          <p:nvPr/>
        </p:nvGrpSpPr>
        <p:grpSpPr>
          <a:xfrm>
            <a:off x="5423535" y="1701641"/>
            <a:ext cx="3520256" cy="1983977"/>
            <a:chOff x="9658" y="4132"/>
            <a:chExt cx="8907" cy="5126"/>
          </a:xfrm>
        </p:grpSpPr>
        <p:grpSp>
          <p:nvGrpSpPr>
            <p:cNvPr id="41" name="Shape6"/>
            <p:cNvGrpSpPr/>
            <p:nvPr/>
          </p:nvGrpSpPr>
          <p:grpSpPr>
            <a:xfrm>
              <a:off x="9658" y="4132"/>
              <a:ext cx="8907" cy="5126"/>
              <a:chOff x="6132513" y="2828940"/>
              <a:chExt cx="5656110" cy="3255079"/>
            </a:xfrm>
          </p:grpSpPr>
          <p:sp>
            <p:nvSpPr>
              <p:cNvPr id="1048642" name="Shape6"/>
              <p:cNvSpPr/>
              <p:nvPr>
                <p:custDataLst>
                  <p:tags r:id="rId2"/>
                </p:custDataLst>
              </p:nvPr>
            </p:nvSpPr>
            <p:spPr bwMode="auto">
              <a:xfrm>
                <a:off x="6132513" y="5958327"/>
                <a:ext cx="2849003" cy="125692"/>
              </a:xfrm>
              <a:custGeom>
                <a:avLst/>
                <a:gdLst>
                  <a:gd name="T0" fmla="*/ 0 w 885"/>
                  <a:gd name="T1" fmla="*/ 16 h 39"/>
                  <a:gd name="T2" fmla="*/ 78 w 885"/>
                  <a:gd name="T3" fmla="*/ 39 h 39"/>
                  <a:gd name="T4" fmla="*/ 885 w 885"/>
                  <a:gd name="T5" fmla="*/ 39 h 39"/>
                  <a:gd name="T6" fmla="*/ 885 w 885"/>
                  <a:gd name="T7" fmla="*/ 0 h 39"/>
                  <a:gd name="T8" fmla="*/ 0 w 885"/>
                  <a:gd name="T9" fmla="*/ 0 h 39"/>
                  <a:gd name="T10" fmla="*/ 0 w 885"/>
                  <a:gd name="T11" fmla="*/ 16 h 39"/>
                </a:gdLst>
                <a:ahLst/>
                <a:cxnLst>
                  <a:cxn ang="0">
                    <a:pos x="T0" y="T1"/>
                  </a:cxn>
                  <a:cxn ang="0">
                    <a:pos x="T2" y="T3"/>
                  </a:cxn>
                  <a:cxn ang="0">
                    <a:pos x="T4" y="T5"/>
                  </a:cxn>
                  <a:cxn ang="0">
                    <a:pos x="T6" y="T7"/>
                  </a:cxn>
                  <a:cxn ang="0">
                    <a:pos x="T8" y="T9"/>
                  </a:cxn>
                  <a:cxn ang="0">
                    <a:pos x="T10" y="T11"/>
                  </a:cxn>
                </a:cxnLst>
                <a:rect l="0" t="0" r="r" b="b"/>
                <a:pathLst>
                  <a:path w="885" h="39">
                    <a:moveTo>
                      <a:pt x="0" y="16"/>
                    </a:moveTo>
                    <a:cubicBezTo>
                      <a:pt x="0" y="23"/>
                      <a:pt x="30" y="39"/>
                      <a:pt x="78" y="39"/>
                    </a:cubicBezTo>
                    <a:cubicBezTo>
                      <a:pt x="126" y="39"/>
                      <a:pt x="885" y="39"/>
                      <a:pt x="885" y="39"/>
                    </a:cubicBezTo>
                    <a:cubicBezTo>
                      <a:pt x="885" y="0"/>
                      <a:pt x="885" y="0"/>
                      <a:pt x="885" y="0"/>
                    </a:cubicBezTo>
                    <a:cubicBezTo>
                      <a:pt x="0" y="0"/>
                      <a:pt x="0" y="0"/>
                      <a:pt x="0" y="0"/>
                    </a:cubicBezTo>
                    <a:lnTo>
                      <a:pt x="0" y="16"/>
                    </a:lnTo>
                    <a:close/>
                  </a:path>
                </a:pathLst>
              </a:custGeom>
              <a:solidFill>
                <a:srgbClr val="B3B4B5"/>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43" name="Shape6"/>
              <p:cNvSpPr/>
              <p:nvPr>
                <p:custDataLst>
                  <p:tags r:id="rId3"/>
                </p:custDataLst>
              </p:nvPr>
            </p:nvSpPr>
            <p:spPr bwMode="auto">
              <a:xfrm>
                <a:off x="8939618" y="5958327"/>
                <a:ext cx="2849003" cy="125692"/>
              </a:xfrm>
              <a:custGeom>
                <a:avLst/>
                <a:gdLst>
                  <a:gd name="T0" fmla="*/ 884 w 884"/>
                  <a:gd name="T1" fmla="*/ 16 h 39"/>
                  <a:gd name="T2" fmla="*/ 806 w 884"/>
                  <a:gd name="T3" fmla="*/ 39 h 39"/>
                  <a:gd name="T4" fmla="*/ 0 w 884"/>
                  <a:gd name="T5" fmla="*/ 39 h 39"/>
                  <a:gd name="T6" fmla="*/ 0 w 884"/>
                  <a:gd name="T7" fmla="*/ 0 h 39"/>
                  <a:gd name="T8" fmla="*/ 884 w 884"/>
                  <a:gd name="T9" fmla="*/ 0 h 39"/>
                  <a:gd name="T10" fmla="*/ 884 w 884"/>
                  <a:gd name="T11" fmla="*/ 16 h 39"/>
                </a:gdLst>
                <a:ahLst/>
                <a:cxnLst>
                  <a:cxn ang="0">
                    <a:pos x="T0" y="T1"/>
                  </a:cxn>
                  <a:cxn ang="0">
                    <a:pos x="T2" y="T3"/>
                  </a:cxn>
                  <a:cxn ang="0">
                    <a:pos x="T4" y="T5"/>
                  </a:cxn>
                  <a:cxn ang="0">
                    <a:pos x="T6" y="T7"/>
                  </a:cxn>
                  <a:cxn ang="0">
                    <a:pos x="T8" y="T9"/>
                  </a:cxn>
                  <a:cxn ang="0">
                    <a:pos x="T10" y="T11"/>
                  </a:cxn>
                </a:cxnLst>
                <a:rect l="0" t="0" r="r" b="b"/>
                <a:pathLst>
                  <a:path w="884" h="39">
                    <a:moveTo>
                      <a:pt x="884" y="16"/>
                    </a:moveTo>
                    <a:cubicBezTo>
                      <a:pt x="884" y="23"/>
                      <a:pt x="854" y="39"/>
                      <a:pt x="806" y="39"/>
                    </a:cubicBezTo>
                    <a:cubicBezTo>
                      <a:pt x="758" y="39"/>
                      <a:pt x="0" y="39"/>
                      <a:pt x="0" y="39"/>
                    </a:cubicBezTo>
                    <a:cubicBezTo>
                      <a:pt x="0" y="0"/>
                      <a:pt x="0" y="0"/>
                      <a:pt x="0" y="0"/>
                    </a:cubicBezTo>
                    <a:cubicBezTo>
                      <a:pt x="884" y="0"/>
                      <a:pt x="884" y="0"/>
                      <a:pt x="884" y="0"/>
                    </a:cubicBezTo>
                    <a:lnTo>
                      <a:pt x="884" y="16"/>
                    </a:lnTo>
                    <a:close/>
                  </a:path>
                </a:pathLst>
              </a:custGeom>
              <a:solidFill>
                <a:srgbClr val="B3B4B5"/>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44" name="Shape6"/>
              <p:cNvSpPr/>
              <p:nvPr>
                <p:custDataLst>
                  <p:tags r:id="rId4"/>
                </p:custDataLst>
              </p:nvPr>
            </p:nvSpPr>
            <p:spPr bwMode="auto">
              <a:xfrm>
                <a:off x="6690066" y="2828940"/>
                <a:ext cx="4582899" cy="3139056"/>
              </a:xfrm>
              <a:custGeom>
                <a:avLst/>
                <a:gdLst>
                  <a:gd name="T0" fmla="*/ 1378 w 1423"/>
                  <a:gd name="T1" fmla="*/ 0 h 974"/>
                  <a:gd name="T2" fmla="*/ 45 w 1423"/>
                  <a:gd name="T3" fmla="*/ 0 h 974"/>
                  <a:gd name="T4" fmla="*/ 0 w 1423"/>
                  <a:gd name="T5" fmla="*/ 45 h 974"/>
                  <a:gd name="T6" fmla="*/ 0 w 1423"/>
                  <a:gd name="T7" fmla="*/ 218 h 974"/>
                  <a:gd name="T8" fmla="*/ 0 w 1423"/>
                  <a:gd name="T9" fmla="*/ 929 h 974"/>
                  <a:gd name="T10" fmla="*/ 45 w 1423"/>
                  <a:gd name="T11" fmla="*/ 974 h 974"/>
                  <a:gd name="T12" fmla="*/ 1378 w 1423"/>
                  <a:gd name="T13" fmla="*/ 974 h 974"/>
                  <a:gd name="T14" fmla="*/ 1423 w 1423"/>
                  <a:gd name="T15" fmla="*/ 929 h 974"/>
                  <a:gd name="T16" fmla="*/ 1423 w 1423"/>
                  <a:gd name="T17" fmla="*/ 45 h 974"/>
                  <a:gd name="T18" fmla="*/ 1378 w 1423"/>
                  <a:gd name="T19"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3" h="974">
                    <a:moveTo>
                      <a:pt x="1378" y="0"/>
                    </a:moveTo>
                    <a:cubicBezTo>
                      <a:pt x="45" y="0"/>
                      <a:pt x="45" y="0"/>
                      <a:pt x="45" y="0"/>
                    </a:cubicBezTo>
                    <a:cubicBezTo>
                      <a:pt x="20" y="0"/>
                      <a:pt x="0" y="20"/>
                      <a:pt x="0" y="45"/>
                    </a:cubicBezTo>
                    <a:cubicBezTo>
                      <a:pt x="0" y="218"/>
                      <a:pt x="0" y="218"/>
                      <a:pt x="0" y="218"/>
                    </a:cubicBezTo>
                    <a:cubicBezTo>
                      <a:pt x="0" y="929"/>
                      <a:pt x="0" y="929"/>
                      <a:pt x="0" y="929"/>
                    </a:cubicBezTo>
                    <a:cubicBezTo>
                      <a:pt x="0" y="954"/>
                      <a:pt x="20" y="974"/>
                      <a:pt x="45" y="974"/>
                    </a:cubicBezTo>
                    <a:cubicBezTo>
                      <a:pt x="1378" y="974"/>
                      <a:pt x="1378" y="974"/>
                      <a:pt x="1378" y="974"/>
                    </a:cubicBezTo>
                    <a:cubicBezTo>
                      <a:pt x="1403" y="974"/>
                      <a:pt x="1423" y="954"/>
                      <a:pt x="1423" y="929"/>
                    </a:cubicBezTo>
                    <a:cubicBezTo>
                      <a:pt x="1423" y="45"/>
                      <a:pt x="1423" y="45"/>
                      <a:pt x="1423" y="45"/>
                    </a:cubicBezTo>
                    <a:cubicBezTo>
                      <a:pt x="1423" y="20"/>
                      <a:pt x="1403" y="0"/>
                      <a:pt x="1378" y="0"/>
                    </a:cubicBezTo>
                    <a:close/>
                  </a:path>
                </a:pathLst>
              </a:custGeom>
              <a:solidFill>
                <a:srgbClr val="D2D3D5"/>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45" name="Shape6"/>
              <p:cNvSpPr/>
              <p:nvPr>
                <p:custDataLst>
                  <p:tags r:id="rId5"/>
                </p:custDataLst>
              </p:nvPr>
            </p:nvSpPr>
            <p:spPr bwMode="auto">
              <a:xfrm>
                <a:off x="6706181" y="2845053"/>
                <a:ext cx="4553894" cy="3106828"/>
              </a:xfrm>
              <a:custGeom>
                <a:avLst/>
                <a:gdLst>
                  <a:gd name="T0" fmla="*/ 40 w 1414"/>
                  <a:gd name="T1" fmla="*/ 964 h 964"/>
                  <a:gd name="T2" fmla="*/ 0 w 1414"/>
                  <a:gd name="T3" fmla="*/ 924 h 964"/>
                  <a:gd name="T4" fmla="*/ 0 w 1414"/>
                  <a:gd name="T5" fmla="*/ 40 h 964"/>
                  <a:gd name="T6" fmla="*/ 40 w 1414"/>
                  <a:gd name="T7" fmla="*/ 0 h 964"/>
                  <a:gd name="T8" fmla="*/ 1373 w 1414"/>
                  <a:gd name="T9" fmla="*/ 0 h 964"/>
                  <a:gd name="T10" fmla="*/ 1414 w 1414"/>
                  <a:gd name="T11" fmla="*/ 40 h 964"/>
                  <a:gd name="T12" fmla="*/ 1414 w 1414"/>
                  <a:gd name="T13" fmla="*/ 924 h 964"/>
                  <a:gd name="T14" fmla="*/ 1373 w 1414"/>
                  <a:gd name="T15" fmla="*/ 964 h 964"/>
                  <a:gd name="T16" fmla="*/ 40 w 1414"/>
                  <a:gd name="T17" fmla="*/ 964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964">
                    <a:moveTo>
                      <a:pt x="40" y="964"/>
                    </a:moveTo>
                    <a:cubicBezTo>
                      <a:pt x="18" y="964"/>
                      <a:pt x="0" y="946"/>
                      <a:pt x="0" y="924"/>
                    </a:cubicBezTo>
                    <a:cubicBezTo>
                      <a:pt x="0" y="40"/>
                      <a:pt x="0" y="40"/>
                      <a:pt x="0" y="40"/>
                    </a:cubicBezTo>
                    <a:cubicBezTo>
                      <a:pt x="0" y="18"/>
                      <a:pt x="18" y="0"/>
                      <a:pt x="40" y="0"/>
                    </a:cubicBezTo>
                    <a:cubicBezTo>
                      <a:pt x="1373" y="0"/>
                      <a:pt x="1373" y="0"/>
                      <a:pt x="1373" y="0"/>
                    </a:cubicBezTo>
                    <a:cubicBezTo>
                      <a:pt x="1396" y="0"/>
                      <a:pt x="1414" y="18"/>
                      <a:pt x="1414" y="40"/>
                    </a:cubicBezTo>
                    <a:cubicBezTo>
                      <a:pt x="1414" y="924"/>
                      <a:pt x="1414" y="924"/>
                      <a:pt x="1414" y="924"/>
                    </a:cubicBezTo>
                    <a:cubicBezTo>
                      <a:pt x="1414" y="946"/>
                      <a:pt x="1396" y="964"/>
                      <a:pt x="1373" y="964"/>
                    </a:cubicBezTo>
                    <a:lnTo>
                      <a:pt x="40" y="964"/>
                    </a:lnTo>
                    <a:close/>
                  </a:path>
                </a:pathLst>
              </a:custGeom>
              <a:solidFill>
                <a:srgbClr val="181818"/>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46" name="Shape6"/>
              <p:cNvSpPr/>
              <p:nvPr>
                <p:custDataLst>
                  <p:tags r:id="rId6"/>
                </p:custDataLst>
              </p:nvPr>
            </p:nvSpPr>
            <p:spPr bwMode="auto">
              <a:xfrm>
                <a:off x="6706181" y="5819745"/>
                <a:ext cx="4553894" cy="132138"/>
              </a:xfrm>
              <a:custGeom>
                <a:avLst/>
                <a:gdLst>
                  <a:gd name="T0" fmla="*/ 1414 w 1414"/>
                  <a:gd name="T1" fmla="*/ 0 h 41"/>
                  <a:gd name="T2" fmla="*/ 1396 w 1414"/>
                  <a:gd name="T3" fmla="*/ 9 h 41"/>
                  <a:gd name="T4" fmla="*/ 18 w 1414"/>
                  <a:gd name="T5" fmla="*/ 9 h 41"/>
                  <a:gd name="T6" fmla="*/ 0 w 1414"/>
                  <a:gd name="T7" fmla="*/ 0 h 41"/>
                  <a:gd name="T8" fmla="*/ 0 w 1414"/>
                  <a:gd name="T9" fmla="*/ 1 h 41"/>
                  <a:gd name="T10" fmla="*/ 40 w 1414"/>
                  <a:gd name="T11" fmla="*/ 41 h 41"/>
                  <a:gd name="T12" fmla="*/ 1373 w 1414"/>
                  <a:gd name="T13" fmla="*/ 41 h 41"/>
                  <a:gd name="T14" fmla="*/ 1414 w 1414"/>
                  <a:gd name="T15" fmla="*/ 1 h 41"/>
                  <a:gd name="T16" fmla="*/ 1414 w 1414"/>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41">
                    <a:moveTo>
                      <a:pt x="1414" y="0"/>
                    </a:moveTo>
                    <a:cubicBezTo>
                      <a:pt x="1409" y="6"/>
                      <a:pt x="1403" y="9"/>
                      <a:pt x="1396" y="9"/>
                    </a:cubicBezTo>
                    <a:cubicBezTo>
                      <a:pt x="18" y="9"/>
                      <a:pt x="18" y="9"/>
                      <a:pt x="18" y="9"/>
                    </a:cubicBezTo>
                    <a:cubicBezTo>
                      <a:pt x="10" y="9"/>
                      <a:pt x="4" y="6"/>
                      <a:pt x="0" y="0"/>
                    </a:cubicBezTo>
                    <a:cubicBezTo>
                      <a:pt x="0" y="1"/>
                      <a:pt x="0" y="1"/>
                      <a:pt x="0" y="1"/>
                    </a:cubicBezTo>
                    <a:cubicBezTo>
                      <a:pt x="0" y="23"/>
                      <a:pt x="18" y="41"/>
                      <a:pt x="40" y="41"/>
                    </a:cubicBezTo>
                    <a:cubicBezTo>
                      <a:pt x="1373" y="41"/>
                      <a:pt x="1373" y="41"/>
                      <a:pt x="1373" y="41"/>
                    </a:cubicBezTo>
                    <a:cubicBezTo>
                      <a:pt x="1396" y="41"/>
                      <a:pt x="1414" y="23"/>
                      <a:pt x="1414" y="1"/>
                    </a:cubicBezTo>
                    <a:lnTo>
                      <a:pt x="1414" y="0"/>
                    </a:lnTo>
                    <a:close/>
                  </a:path>
                </a:pathLst>
              </a:custGeom>
              <a:solidFill>
                <a:srgbClr val="0C0D11"/>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47" name="Shape6"/>
              <p:cNvSpPr>
                <a:spLocks noChangeArrowheads="1"/>
              </p:cNvSpPr>
              <p:nvPr>
                <p:custDataLst>
                  <p:tags r:id="rId7"/>
                </p:custDataLst>
              </p:nvPr>
            </p:nvSpPr>
            <p:spPr bwMode="auto">
              <a:xfrm>
                <a:off x="6132513" y="5906761"/>
                <a:ext cx="5656110" cy="103131"/>
              </a:xfrm>
              <a:prstGeom prst="rect">
                <a:avLst/>
              </a:prstGeom>
              <a:solidFill>
                <a:srgbClr val="D2D6D7"/>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48" name="Shape6"/>
              <p:cNvSpPr/>
              <p:nvPr>
                <p:custDataLst>
                  <p:tags r:id="rId8"/>
                </p:custDataLst>
              </p:nvPr>
            </p:nvSpPr>
            <p:spPr bwMode="auto">
              <a:xfrm>
                <a:off x="8552875" y="5906761"/>
                <a:ext cx="812159" cy="58011"/>
              </a:xfrm>
              <a:custGeom>
                <a:avLst/>
                <a:gdLst>
                  <a:gd name="T0" fmla="*/ 0 w 252"/>
                  <a:gd name="T1" fmla="*/ 0 h 18"/>
                  <a:gd name="T2" fmla="*/ 22 w 252"/>
                  <a:gd name="T3" fmla="*/ 18 h 18"/>
                  <a:gd name="T4" fmla="*/ 230 w 252"/>
                  <a:gd name="T5" fmla="*/ 18 h 18"/>
                  <a:gd name="T6" fmla="*/ 252 w 252"/>
                  <a:gd name="T7" fmla="*/ 0 h 18"/>
                  <a:gd name="T8" fmla="*/ 0 w 252"/>
                  <a:gd name="T9" fmla="*/ 0 h 18"/>
                </a:gdLst>
                <a:ahLst/>
                <a:cxnLst>
                  <a:cxn ang="0">
                    <a:pos x="T0" y="T1"/>
                  </a:cxn>
                  <a:cxn ang="0">
                    <a:pos x="T2" y="T3"/>
                  </a:cxn>
                  <a:cxn ang="0">
                    <a:pos x="T4" y="T5"/>
                  </a:cxn>
                  <a:cxn ang="0">
                    <a:pos x="T6" y="T7"/>
                  </a:cxn>
                  <a:cxn ang="0">
                    <a:pos x="T8" y="T9"/>
                  </a:cxn>
                </a:cxnLst>
                <a:rect l="0" t="0" r="r" b="b"/>
                <a:pathLst>
                  <a:path w="252" h="18">
                    <a:moveTo>
                      <a:pt x="0" y="0"/>
                    </a:moveTo>
                    <a:cubicBezTo>
                      <a:pt x="2" y="10"/>
                      <a:pt x="11" y="18"/>
                      <a:pt x="22" y="18"/>
                    </a:cubicBezTo>
                    <a:cubicBezTo>
                      <a:pt x="230" y="18"/>
                      <a:pt x="230" y="18"/>
                      <a:pt x="230" y="18"/>
                    </a:cubicBezTo>
                    <a:cubicBezTo>
                      <a:pt x="241" y="18"/>
                      <a:pt x="250" y="10"/>
                      <a:pt x="252" y="0"/>
                    </a:cubicBezTo>
                    <a:lnTo>
                      <a:pt x="0" y="0"/>
                    </a:lnTo>
                    <a:close/>
                  </a:path>
                </a:pathLst>
              </a:custGeom>
              <a:solidFill>
                <a:srgbClr val="B3B4B5"/>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49" name="Shape6"/>
              <p:cNvSpPr>
                <a:spLocks noChangeArrowheads="1"/>
              </p:cNvSpPr>
              <p:nvPr>
                <p:custDataLst>
                  <p:tags r:id="rId9"/>
                </p:custDataLst>
              </p:nvPr>
            </p:nvSpPr>
            <p:spPr bwMode="auto">
              <a:xfrm>
                <a:off x="6857654" y="3041648"/>
                <a:ext cx="4250946" cy="2684635"/>
              </a:xfrm>
              <a:prstGeom prst="rect">
                <a:avLst/>
              </a:prstGeom>
              <a:solidFill>
                <a:srgbClr val="0C0D11"/>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50" name="Shape6"/>
              <p:cNvSpPr>
                <a:spLocks noChangeArrowheads="1"/>
              </p:cNvSpPr>
              <p:nvPr>
                <p:custDataLst>
                  <p:tags r:id="rId10"/>
                </p:custDataLst>
              </p:nvPr>
            </p:nvSpPr>
            <p:spPr bwMode="auto">
              <a:xfrm>
                <a:off x="8955733" y="2928847"/>
                <a:ext cx="48344" cy="48344"/>
              </a:xfrm>
              <a:prstGeom prst="ellipse">
                <a:avLst/>
              </a:prstGeom>
              <a:solidFill>
                <a:srgbClr val="2C2C2C"/>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51" name="Shape6"/>
              <p:cNvSpPr>
                <a:spLocks noChangeArrowheads="1"/>
              </p:cNvSpPr>
              <p:nvPr>
                <p:custDataLst>
                  <p:tags r:id="rId11"/>
                </p:custDataLst>
              </p:nvPr>
            </p:nvSpPr>
            <p:spPr bwMode="auto">
              <a:xfrm>
                <a:off x="8955733" y="2925626"/>
                <a:ext cx="48344" cy="45120"/>
              </a:xfrm>
              <a:prstGeom prst="ellipse">
                <a:avLst/>
              </a:prstGeom>
              <a:solidFill>
                <a:srgbClr val="0A0A0A"/>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52" name="Shape6"/>
              <p:cNvSpPr>
                <a:spLocks noChangeArrowheads="1"/>
              </p:cNvSpPr>
              <p:nvPr>
                <p:custDataLst>
                  <p:tags r:id="rId12"/>
                </p:custDataLst>
              </p:nvPr>
            </p:nvSpPr>
            <p:spPr bwMode="auto">
              <a:xfrm>
                <a:off x="8965401" y="2932071"/>
                <a:ext cx="29007" cy="32229"/>
              </a:xfrm>
              <a:prstGeom prst="ellipse">
                <a:avLst/>
              </a:prstGeom>
              <a:solidFill>
                <a:srgbClr val="000000"/>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53" name="Shape6"/>
              <p:cNvSpPr>
                <a:spLocks noChangeArrowheads="1"/>
              </p:cNvSpPr>
              <p:nvPr>
                <p:custDataLst>
                  <p:tags r:id="rId13"/>
                </p:custDataLst>
              </p:nvPr>
            </p:nvSpPr>
            <p:spPr bwMode="auto">
              <a:xfrm>
                <a:off x="8971846" y="2941739"/>
                <a:ext cx="16115" cy="16115"/>
              </a:xfrm>
              <a:prstGeom prst="ellipse">
                <a:avLst/>
              </a:prstGeom>
              <a:solidFill>
                <a:srgbClr val="2C99B4"/>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54" name="Shape6"/>
              <p:cNvSpPr/>
              <p:nvPr>
                <p:custDataLst>
                  <p:tags r:id="rId14"/>
                </p:custDataLst>
              </p:nvPr>
            </p:nvSpPr>
            <p:spPr bwMode="auto">
              <a:xfrm>
                <a:off x="8978292" y="2944963"/>
                <a:ext cx="3224" cy="6446"/>
              </a:xfrm>
              <a:custGeom>
                <a:avLst/>
                <a:gdLst>
                  <a:gd name="T0" fmla="*/ 1 w 1"/>
                  <a:gd name="T1" fmla="*/ 1 h 2"/>
                  <a:gd name="T2" fmla="*/ 1 w 1"/>
                  <a:gd name="T3" fmla="*/ 2 h 2"/>
                  <a:gd name="T4" fmla="*/ 0 w 1"/>
                  <a:gd name="T5" fmla="*/ 1 h 2"/>
                  <a:gd name="T6" fmla="*/ 1 w 1"/>
                  <a:gd name="T7" fmla="*/ 0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2"/>
                    </a:lnTo>
                    <a:lnTo>
                      <a:pt x="0" y="1"/>
                    </a:lnTo>
                    <a:lnTo>
                      <a:pt x="1" y="0"/>
                    </a:lnTo>
                    <a:lnTo>
                      <a:pt x="1" y="1"/>
                    </a:lnTo>
                    <a:close/>
                  </a:path>
                </a:pathLst>
              </a:custGeom>
              <a:solidFill>
                <a:srgbClr val="FFFFFF"/>
              </a:solidFill>
              <a:ln>
                <a:noFill/>
              </a:ln>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pPr>
                <a:endParaRPr kumimoji="0" lang="id-ID" sz="1350" b="0" i="0" u="none" strike="noStrike" kern="1200" cap="none" spc="0" normalizeH="0" baseline="0" noProof="0">
                  <a:ln>
                    <a:noFill/>
                  </a:ln>
                  <a:solidFill>
                    <a:prstClr val="black"/>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grpSp>
        <p:sp>
          <p:nvSpPr>
            <p:cNvPr id="1048656" name="Shape8"/>
            <p:cNvSpPr/>
            <p:nvPr/>
          </p:nvSpPr>
          <p:spPr>
            <a:xfrm>
              <a:off x="10820" y="4492"/>
              <a:ext cx="6649" cy="4182"/>
            </a:xfrm>
            <a:custGeom>
              <a:avLst/>
              <a:gdLst>
                <a:gd name="connsiteX0" fmla="*/ 0 w 4221938"/>
                <a:gd name="connsiteY0" fmla="*/ 0 h 2655629"/>
                <a:gd name="connsiteX1" fmla="*/ 4221938 w 4221938"/>
                <a:gd name="connsiteY1" fmla="*/ 0 h 2655629"/>
                <a:gd name="connsiteX2" fmla="*/ 4221938 w 4221938"/>
                <a:gd name="connsiteY2" fmla="*/ 2655629 h 2655629"/>
                <a:gd name="connsiteX3" fmla="*/ 0 w 4221938"/>
                <a:gd name="connsiteY3" fmla="*/ 2655629 h 2655629"/>
              </a:gdLst>
              <a:ahLst/>
              <a:cxnLst>
                <a:cxn ang="0">
                  <a:pos x="connsiteX0" y="connsiteY0"/>
                </a:cxn>
                <a:cxn ang="0">
                  <a:pos x="connsiteX1" y="connsiteY1"/>
                </a:cxn>
                <a:cxn ang="0">
                  <a:pos x="connsiteX2" y="connsiteY2"/>
                </a:cxn>
                <a:cxn ang="0">
                  <a:pos x="connsiteX3" y="connsiteY3"/>
                </a:cxn>
              </a:cxnLst>
              <a:rect l="l" t="t" r="r" b="b"/>
              <a:pathLst>
                <a:path w="4221938" h="2655629">
                  <a:moveTo>
                    <a:pt x="0" y="0"/>
                  </a:moveTo>
                  <a:lnTo>
                    <a:pt x="4221938" y="0"/>
                  </a:lnTo>
                  <a:lnTo>
                    <a:pt x="4221938" y="2655629"/>
                  </a:lnTo>
                  <a:lnTo>
                    <a:pt x="0" y="2655629"/>
                  </a:lnTo>
                  <a:close/>
                </a:path>
              </a:pathLst>
            </a:custGeom>
            <a:blipFill rotWithShape="1">
              <a:blip r:embed="rId15"/>
              <a:srcRect/>
              <a:stretch>
                <a:fillRect t="-3041" b="-3041"/>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lang="zh-CN" altLang="en-US" sz="10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grpSp>
      <p:sp>
        <p:nvSpPr>
          <p:cNvPr id="1048661" name="Shape11"/>
          <p:cNvSpPr txBox="1"/>
          <p:nvPr/>
        </p:nvSpPr>
        <p:spPr>
          <a:xfrm>
            <a:off x="155734" y="1095851"/>
            <a:ext cx="4852035" cy="3895249"/>
          </a:xfrm>
          <a:prstGeom prst="rect">
            <a:avLst/>
          </a:prstGeom>
          <a:noFill/>
          <a:ln>
            <a:noFill/>
          </a:ln>
        </p:spPr>
        <p:txBody>
          <a:bodyPr wrap="square" rtlCol="0">
            <a:noAutofit/>
            <a:scene3d>
              <a:camera prst="orthographicFront"/>
              <a:lightRig rig="threePt" dir="t"/>
            </a:scene3d>
            <a:sp3d contourW="12700"/>
          </a:bodyPr>
          <a:lstStyle/>
          <a:p>
            <a:pPr indent="457200" algn="just" fontAlgn="auto">
              <a:lnSpc>
                <a:spcPct val="170000"/>
              </a:lnSpc>
              <a:spcBef>
                <a:spcPts val="0"/>
              </a:spcBef>
              <a:spcAft>
                <a:spcPts val="0"/>
              </a:spcAft>
            </a:pPr>
            <a:r>
              <a:rPr lang="zh-CN" altLang="en-US" sz="1125" dirty="0">
                <a:solidFill>
                  <a:schemeClr val="bg1"/>
                </a:solidFill>
                <a:latin typeface="微软雅黑" panose="020B0503020204020204" charset="-122"/>
                <a:ea typeface="微软雅黑" panose="020B0503020204020204" charset="-122"/>
                <a:sym typeface="+mn-ea"/>
              </a:rPr>
              <a:t>鼎和保险公司成立于</a:t>
            </a:r>
            <a:r>
              <a:rPr lang="en-US" altLang="zh-CN" sz="1125" dirty="0">
                <a:solidFill>
                  <a:schemeClr val="bg1"/>
                </a:solidFill>
                <a:latin typeface="微软雅黑" panose="020B0503020204020204" charset="-122"/>
                <a:ea typeface="微软雅黑" panose="020B0503020204020204" charset="-122"/>
                <a:sym typeface="+mn-ea"/>
              </a:rPr>
              <a:t>2008</a:t>
            </a:r>
            <a:r>
              <a:rPr lang="zh-CN" altLang="en-US" sz="1125" dirty="0">
                <a:solidFill>
                  <a:schemeClr val="bg1"/>
                </a:solidFill>
                <a:latin typeface="微软雅黑" panose="020B0503020204020204" charset="-122"/>
                <a:ea typeface="微软雅黑" panose="020B0503020204020204" charset="-122"/>
                <a:sym typeface="+mn-ea"/>
              </a:rPr>
              <a:t>年</a:t>
            </a:r>
            <a:r>
              <a:rPr lang="en-US" altLang="zh-CN" sz="1125" dirty="0">
                <a:solidFill>
                  <a:schemeClr val="bg1"/>
                </a:solidFill>
                <a:latin typeface="微软雅黑" panose="020B0503020204020204" charset="-122"/>
                <a:ea typeface="微软雅黑" panose="020B0503020204020204" charset="-122"/>
                <a:sym typeface="+mn-ea"/>
              </a:rPr>
              <a:t>5</a:t>
            </a:r>
            <a:r>
              <a:rPr lang="zh-CN" altLang="en-US" sz="1125" dirty="0">
                <a:solidFill>
                  <a:schemeClr val="bg1"/>
                </a:solidFill>
                <a:latin typeface="微软雅黑" panose="020B0503020204020204" charset="-122"/>
                <a:ea typeface="微软雅黑" panose="020B0503020204020204" charset="-122"/>
                <a:sym typeface="+mn-ea"/>
              </a:rPr>
              <a:t>月，总部设在深圳，注册资本为</a:t>
            </a:r>
            <a:r>
              <a:rPr lang="en-US" altLang="zh-CN" sz="1125" dirty="0">
                <a:solidFill>
                  <a:schemeClr val="bg1"/>
                </a:solidFill>
                <a:latin typeface="微软雅黑" panose="020B0503020204020204" charset="-122"/>
                <a:ea typeface="微软雅黑" panose="020B0503020204020204" charset="-122"/>
                <a:sym typeface="+mn-ea"/>
              </a:rPr>
              <a:t>46.43</a:t>
            </a:r>
            <a:r>
              <a:rPr lang="zh-CN" altLang="en-US" sz="1125" dirty="0">
                <a:solidFill>
                  <a:schemeClr val="bg1"/>
                </a:solidFill>
                <a:latin typeface="微软雅黑" panose="020B0503020204020204" charset="-122"/>
                <a:ea typeface="微软雅黑" panose="020B0503020204020204" charset="-122"/>
                <a:sym typeface="+mn-ea"/>
              </a:rPr>
              <a:t>亿元。作为一家特色鲜明的全国性专家型财险公司，鼎和保险公司经营范围涵盖非寿险各个领域。</a:t>
            </a:r>
            <a:endParaRPr lang="zh-CN" altLang="en-US" sz="1125" dirty="0">
              <a:solidFill>
                <a:schemeClr val="bg1"/>
              </a:solidFill>
              <a:latin typeface="微软雅黑" panose="020B0503020204020204" charset="-122"/>
              <a:ea typeface="微软雅黑" panose="020B0503020204020204" charset="-122"/>
              <a:sym typeface="+mn-ea"/>
            </a:endParaRPr>
          </a:p>
          <a:p>
            <a:pPr indent="457200" algn="just" fontAlgn="auto">
              <a:lnSpc>
                <a:spcPct val="170000"/>
              </a:lnSpc>
              <a:spcBef>
                <a:spcPts val="0"/>
              </a:spcBef>
              <a:spcAft>
                <a:spcPts val="0"/>
              </a:spcAft>
            </a:pPr>
            <a:r>
              <a:rPr lang="zh-CN" altLang="en-US" sz="1125" dirty="0">
                <a:solidFill>
                  <a:schemeClr val="bg1"/>
                </a:solidFill>
                <a:latin typeface="微软雅黑" panose="020B0503020204020204" charset="-122"/>
                <a:ea typeface="微软雅黑" panose="020B0503020204020204" charset="-122"/>
                <a:sym typeface="+mn-ea"/>
              </a:rPr>
              <a:t>鼎和保险公司经过多年发展，保费与利润保持同步增长。</a:t>
            </a:r>
            <a:r>
              <a:rPr lang="en-US" altLang="zh-CN" sz="1125" dirty="0">
                <a:solidFill>
                  <a:schemeClr val="bg1"/>
                </a:solidFill>
                <a:latin typeface="微软雅黑" panose="020B0503020204020204" charset="-122"/>
                <a:ea typeface="微软雅黑" panose="020B0503020204020204" charset="-122"/>
                <a:sym typeface="+mn-ea"/>
              </a:rPr>
              <a:t>2023</a:t>
            </a:r>
            <a:r>
              <a:rPr lang="zh-CN" altLang="en-US" sz="1125" dirty="0">
                <a:solidFill>
                  <a:schemeClr val="bg1"/>
                </a:solidFill>
                <a:latin typeface="微软雅黑" panose="020B0503020204020204" charset="-122"/>
                <a:ea typeface="微软雅黑" panose="020B0503020204020204" charset="-122"/>
                <a:sym typeface="+mn-ea"/>
              </a:rPr>
              <a:t>年鼎和保险上下积极进取、持续奋斗，公司保费收入</a:t>
            </a:r>
            <a:r>
              <a:rPr lang="en-US" altLang="zh-CN" sz="1125" dirty="0">
                <a:solidFill>
                  <a:schemeClr val="bg1"/>
                </a:solidFill>
                <a:latin typeface="微软雅黑" panose="020B0503020204020204" charset="-122"/>
                <a:ea typeface="微软雅黑" panose="020B0503020204020204" charset="-122"/>
                <a:sym typeface="+mn-ea"/>
              </a:rPr>
              <a:t>70</a:t>
            </a:r>
            <a:r>
              <a:rPr lang="zh-CN" altLang="en-US" sz="1125" dirty="0">
                <a:solidFill>
                  <a:schemeClr val="bg1"/>
                </a:solidFill>
                <a:latin typeface="微软雅黑" panose="020B0503020204020204" charset="-122"/>
                <a:ea typeface="微软雅黑" panose="020B0503020204020204" charset="-122"/>
                <a:sym typeface="+mn-ea"/>
              </a:rPr>
              <a:t>亿元，同比增长</a:t>
            </a:r>
            <a:r>
              <a:rPr lang="en-US" altLang="zh-CN" sz="1125" dirty="0">
                <a:solidFill>
                  <a:schemeClr val="bg1"/>
                </a:solidFill>
                <a:latin typeface="微软雅黑" panose="020B0503020204020204" charset="-122"/>
                <a:ea typeface="微软雅黑" panose="020B0503020204020204" charset="-122"/>
                <a:sym typeface="+mn-ea"/>
              </a:rPr>
              <a:t>18%</a:t>
            </a:r>
            <a:r>
              <a:rPr lang="zh-CN" altLang="en-US" sz="1125" dirty="0">
                <a:solidFill>
                  <a:schemeClr val="bg1"/>
                </a:solidFill>
                <a:latin typeface="微软雅黑" panose="020B0503020204020204" charset="-122"/>
                <a:ea typeface="微软雅黑" panose="020B0503020204020204" charset="-122"/>
                <a:sym typeface="+mn-ea"/>
              </a:rPr>
              <a:t>，再次跨上新台阶。迄今已为</a:t>
            </a:r>
            <a:r>
              <a:rPr lang="en-US" sz="1125" dirty="0">
                <a:solidFill>
                  <a:schemeClr val="bg1"/>
                </a:solidFill>
                <a:latin typeface="微软雅黑" panose="020B0503020204020204" charset="-122"/>
                <a:ea typeface="微软雅黑" panose="020B0503020204020204" charset="-122"/>
                <a:sym typeface="+mn-ea"/>
              </a:rPr>
              <a:t>8</a:t>
            </a:r>
            <a:r>
              <a:rPr sz="1125" dirty="0">
                <a:solidFill>
                  <a:schemeClr val="bg1"/>
                </a:solidFill>
                <a:latin typeface="微软雅黑" panose="020B0503020204020204" charset="-122"/>
                <a:ea typeface="微软雅黑" panose="020B0503020204020204" charset="-122"/>
                <a:sym typeface="+mn-ea"/>
              </a:rPr>
              <a:t>53万名客户和约28万亿资产</a:t>
            </a:r>
            <a:r>
              <a:rPr lang="zh-CN" altLang="en-US" sz="1125" dirty="0">
                <a:solidFill>
                  <a:schemeClr val="bg1"/>
                </a:solidFill>
                <a:latin typeface="微软雅黑" panose="020B0503020204020204" charset="-122"/>
                <a:ea typeface="微软雅黑" panose="020B0503020204020204" charset="-122"/>
                <a:sym typeface="+mn-ea"/>
              </a:rPr>
              <a:t>提供了机动车辆保险、财产损失保险、责任保险、短期健康和意外伤害保险保障。</a:t>
            </a:r>
            <a:endParaRPr lang="zh-CN" altLang="en-US" sz="1125" dirty="0">
              <a:solidFill>
                <a:schemeClr val="bg1"/>
              </a:solidFill>
              <a:latin typeface="微软雅黑" panose="020B0503020204020204" charset="-122"/>
              <a:ea typeface="微软雅黑" panose="020B0503020204020204" charset="-122"/>
            </a:endParaRPr>
          </a:p>
          <a:p>
            <a:pPr indent="457200" algn="just" fontAlgn="auto">
              <a:lnSpc>
                <a:spcPct val="170000"/>
              </a:lnSpc>
              <a:spcBef>
                <a:spcPts val="0"/>
              </a:spcBef>
              <a:spcAft>
                <a:spcPts val="0"/>
              </a:spcAft>
            </a:pPr>
            <a:r>
              <a:rPr lang="zh-CN" altLang="en-US" sz="1125" dirty="0">
                <a:solidFill>
                  <a:schemeClr val="bg1"/>
                </a:solidFill>
                <a:latin typeface="微软雅黑" panose="020B0503020204020204" charset="-122"/>
                <a:ea typeface="微软雅黑" panose="020B0503020204020204" charset="-122"/>
                <a:sym typeface="+mn-ea"/>
              </a:rPr>
              <a:t>截至</a:t>
            </a:r>
            <a:r>
              <a:rPr lang="en-US" altLang="zh-CN" sz="1125" dirty="0">
                <a:solidFill>
                  <a:schemeClr val="bg1"/>
                </a:solidFill>
                <a:latin typeface="微软雅黑" panose="020B0503020204020204" charset="-122"/>
                <a:ea typeface="微软雅黑" panose="020B0503020204020204" charset="-122"/>
                <a:sym typeface="+mn-ea"/>
              </a:rPr>
              <a:t>2024</a:t>
            </a:r>
            <a:r>
              <a:rPr lang="zh-CN" altLang="en-US" sz="1125" dirty="0">
                <a:solidFill>
                  <a:schemeClr val="bg1"/>
                </a:solidFill>
                <a:latin typeface="微软雅黑" panose="020B0503020204020204" charset="-122"/>
                <a:ea typeface="微软雅黑" panose="020B0503020204020204" charset="-122"/>
                <a:sym typeface="+mn-ea"/>
              </a:rPr>
              <a:t>年，鼎和保险公司已拥有15家省级分公司，</a:t>
            </a:r>
            <a:r>
              <a:rPr lang="en-US" altLang="zh-CN" sz="1125" dirty="0">
                <a:solidFill>
                  <a:schemeClr val="bg1"/>
                </a:solidFill>
                <a:latin typeface="微软雅黑" panose="020B0503020204020204" charset="-122"/>
                <a:ea typeface="微软雅黑" panose="020B0503020204020204" charset="-122"/>
                <a:sym typeface="+mn-ea"/>
              </a:rPr>
              <a:t>180</a:t>
            </a:r>
            <a:r>
              <a:rPr lang="zh-CN" altLang="en-US" sz="1125" dirty="0">
                <a:solidFill>
                  <a:schemeClr val="bg1"/>
                </a:solidFill>
                <a:latin typeface="微软雅黑" panose="020B0503020204020204" charset="-122"/>
                <a:ea typeface="微软雅黑" panose="020B0503020204020204" charset="-122"/>
                <a:sym typeface="+mn-ea"/>
              </a:rPr>
              <a:t>家三、四级机构，机构布局持续快速完善，服务能力不断夯实提升。</a:t>
            </a:r>
            <a:endParaRPr lang="en-US" altLang="zh-CN" sz="1125" dirty="0">
              <a:solidFill>
                <a:schemeClr val="bg1"/>
              </a:solidFill>
              <a:latin typeface="微软雅黑" panose="020B0503020204020204" charset="-122"/>
              <a:ea typeface="微软雅黑" panose="020B0503020204020204" charset="-122"/>
              <a:sym typeface="+mn-ea"/>
            </a:endParaRPr>
          </a:p>
          <a:p>
            <a:pPr indent="457200" algn="just" fontAlgn="auto">
              <a:lnSpc>
                <a:spcPct val="170000"/>
              </a:lnSpc>
              <a:spcBef>
                <a:spcPts val="0"/>
              </a:spcBef>
              <a:spcAft>
                <a:spcPts val="0"/>
              </a:spcAft>
            </a:pPr>
            <a:r>
              <a:rPr lang="zh-CN" altLang="en-US" sz="1125" dirty="0">
                <a:solidFill>
                  <a:schemeClr val="bg1"/>
                </a:solidFill>
                <a:latin typeface="微软雅黑" panose="020B0503020204020204" charset="-122"/>
                <a:ea typeface="微软雅黑" panose="020B0503020204020204" charset="-122"/>
                <a:sym typeface="+mn-ea"/>
              </a:rPr>
              <a:t>公司连续七年荣获中国银保监会法人机构经营评价、服务评价、风险综合评级三项 </a:t>
            </a:r>
            <a:r>
              <a:rPr lang="en-US" altLang="zh-CN" sz="1125" dirty="0">
                <a:solidFill>
                  <a:schemeClr val="bg1"/>
                </a:solidFill>
                <a:latin typeface="微软雅黑" panose="020B0503020204020204" charset="-122"/>
                <a:ea typeface="微软雅黑" panose="020B0503020204020204" charset="-122"/>
                <a:sym typeface="+mn-ea"/>
              </a:rPr>
              <a:t>A </a:t>
            </a:r>
            <a:r>
              <a:rPr lang="zh-CN" altLang="en-US" sz="1125" dirty="0">
                <a:solidFill>
                  <a:schemeClr val="bg1"/>
                </a:solidFill>
                <a:latin typeface="微软雅黑" panose="020B0503020204020204" charset="-122"/>
                <a:ea typeface="微软雅黑" panose="020B0503020204020204" charset="-122"/>
                <a:sym typeface="+mn-ea"/>
              </a:rPr>
              <a:t>类，穆迪保险财务实力国际</a:t>
            </a:r>
            <a:r>
              <a:rPr lang="en-US" altLang="zh-CN" sz="1125" dirty="0">
                <a:solidFill>
                  <a:schemeClr val="bg1"/>
                </a:solidFill>
                <a:latin typeface="微软雅黑" panose="020B0503020204020204" charset="-122"/>
                <a:ea typeface="微软雅黑" panose="020B0503020204020204" charset="-122"/>
                <a:sym typeface="+mn-ea"/>
              </a:rPr>
              <a:t>A3</a:t>
            </a:r>
            <a:r>
              <a:rPr lang="zh-CN" altLang="en-US" sz="1125" dirty="0">
                <a:solidFill>
                  <a:schemeClr val="bg1"/>
                </a:solidFill>
                <a:latin typeface="微软雅黑" panose="020B0503020204020204" charset="-122"/>
                <a:ea typeface="微软雅黑" panose="020B0503020204020204" charset="-122"/>
                <a:sym typeface="+mn-ea"/>
              </a:rPr>
              <a:t>评级。</a:t>
            </a:r>
            <a:endParaRPr lang="zh-CN" altLang="en-US" sz="1125" dirty="0">
              <a:solidFill>
                <a:schemeClr val="bg1"/>
              </a:solidFill>
              <a:latin typeface="微软雅黑" panose="020B0503020204020204" charset="-122"/>
              <a:ea typeface="微软雅黑" panose="020B0503020204020204" charset="-122"/>
              <a:sym typeface="+mn-ea"/>
            </a:endParaRPr>
          </a:p>
          <a:p>
            <a:pPr indent="457200" algn="just" fontAlgn="auto">
              <a:lnSpc>
                <a:spcPct val="170000"/>
              </a:lnSpc>
              <a:spcBef>
                <a:spcPts val="0"/>
              </a:spcBef>
              <a:spcAft>
                <a:spcPts val="0"/>
              </a:spcAft>
            </a:pPr>
            <a:r>
              <a:rPr lang="zh-CN" altLang="en-US" sz="1125" dirty="0">
                <a:solidFill>
                  <a:schemeClr val="bg1"/>
                </a:solidFill>
                <a:latin typeface="微软雅黑" panose="020B0503020204020204" charset="-122"/>
                <a:ea typeface="微软雅黑" panose="020B0503020204020204" charset="-122"/>
                <a:sym typeface="+mn-ea"/>
              </a:rPr>
              <a:t>公司也是中国核保险共同体、中国“一带一路”再保险共同体指定成员。</a:t>
            </a:r>
            <a:endParaRPr kumimoji="0" lang="zh-CN" altLang="en-US" sz="1125" i="0" u="none" strike="noStrike" kern="0" cap="none" spc="0" normalizeH="0" baseline="0" noProof="0" dirty="0">
              <a:ln>
                <a:noFill/>
              </a:ln>
              <a:solidFill>
                <a:schemeClr val="bg1"/>
              </a:solidFill>
              <a:effectLst/>
              <a:uLnTx/>
              <a:uFillTx/>
              <a:latin typeface="微软雅黑" panose="020B0503020204020204" charset="-122"/>
              <a:ea typeface="微软雅黑" panose="020B0503020204020204" charset="-122"/>
              <a:sym typeface="+mn-ea"/>
            </a:endParaRPr>
          </a:p>
        </p:txBody>
      </p:sp>
    </p:spTree>
  </p:cSld>
  <p:clrMapOvr>
    <a:masterClrMapping/>
  </p:clrMapOvr>
  <p:timing>
    <p:tnLst>
      <p:par>
        <p:cTn id="1" dur="indefinite" restart="never" nodeType="tmRoot"/>
      </p:par>
    </p:tnLst>
    <p:bldLst>
      <p:bldP spid="1048655" grpId="0" bldLvl="0" animBg="1" autoUpdateAnimBg="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8" name="Shape3"/>
          <p:cNvSpPr/>
          <p:nvPr/>
        </p:nvSpPr>
        <p:spPr>
          <a:xfrm>
            <a:off x="8369076" y="4610420"/>
            <a:ext cx="119063" cy="11906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
              <a:solidFill>
                <a:schemeClr val="tx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grpSp>
        <p:nvGrpSpPr>
          <p:cNvPr id="43" name="Shape4"/>
          <p:cNvGrpSpPr/>
          <p:nvPr/>
        </p:nvGrpSpPr>
        <p:grpSpPr>
          <a:xfrm>
            <a:off x="299618" y="412859"/>
            <a:ext cx="824633" cy="144001"/>
            <a:chOff x="7922707" y="4563003"/>
            <a:chExt cx="824632" cy="144000"/>
          </a:xfrm>
        </p:grpSpPr>
        <p:sp>
          <p:nvSpPr>
            <p:cNvPr id="1048669"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70"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71"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30"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31"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672" name="Shape5"/>
          <p:cNvSpPr txBox="1"/>
          <p:nvPr/>
        </p:nvSpPr>
        <p:spPr>
          <a:xfrm>
            <a:off x="1150409" y="338264"/>
            <a:ext cx="1652954"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鼎和保险简介</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sp>
        <p:nvSpPr>
          <p:cNvPr id="1048673" name="Shape6"/>
          <p:cNvSpPr/>
          <p:nvPr/>
        </p:nvSpPr>
        <p:spPr bwMode="auto">
          <a:xfrm>
            <a:off x="6930023" y="3323846"/>
            <a:ext cx="1373699" cy="1819655"/>
          </a:xfrm>
          <a:custGeom>
            <a:avLst/>
            <a:gdLst/>
            <a:ahLst/>
            <a:cxnLst>
              <a:cxn ang="0">
                <a:pos x="885" y="361"/>
              </a:cxn>
              <a:cxn ang="0">
                <a:pos x="840" y="315"/>
              </a:cxn>
              <a:cxn ang="0">
                <a:pos x="379" y="777"/>
              </a:cxn>
              <a:cxn ang="0">
                <a:pos x="379" y="1172"/>
              </a:cxn>
              <a:cxn ang="0">
                <a:pos x="0" y="1172"/>
              </a:cxn>
              <a:cxn ang="0">
                <a:pos x="0" y="620"/>
              </a:cxn>
              <a:cxn ang="0">
                <a:pos x="572" y="49"/>
              </a:cxn>
              <a:cxn ang="0">
                <a:pos x="523" y="0"/>
              </a:cxn>
              <a:cxn ang="0">
                <a:pos x="885" y="0"/>
              </a:cxn>
              <a:cxn ang="0">
                <a:pos x="885" y="361"/>
              </a:cxn>
            </a:cxnLst>
            <a:rect l="0" t="0" r="r" b="b"/>
            <a:pathLst>
              <a:path w="885" h="1172">
                <a:moveTo>
                  <a:pt x="885" y="361"/>
                </a:moveTo>
                <a:lnTo>
                  <a:pt x="840" y="315"/>
                </a:lnTo>
                <a:lnTo>
                  <a:pt x="379" y="777"/>
                </a:lnTo>
                <a:lnTo>
                  <a:pt x="379" y="1172"/>
                </a:lnTo>
                <a:lnTo>
                  <a:pt x="0" y="1172"/>
                </a:lnTo>
                <a:lnTo>
                  <a:pt x="0" y="620"/>
                </a:lnTo>
                <a:lnTo>
                  <a:pt x="572" y="49"/>
                </a:lnTo>
                <a:lnTo>
                  <a:pt x="523" y="0"/>
                </a:lnTo>
                <a:lnTo>
                  <a:pt x="885" y="0"/>
                </a:lnTo>
                <a:lnTo>
                  <a:pt x="885" y="361"/>
                </a:lnTo>
                <a:close/>
              </a:path>
            </a:pathLst>
          </a:custGeom>
          <a:solidFill>
            <a:schemeClr val="accent1"/>
          </a:solidFill>
          <a:ln w="9525">
            <a:noFill/>
            <a:round/>
          </a:ln>
          <a:effectLst/>
        </p:spPr>
        <p:txBody>
          <a:bodyPr vert="horz" wrap="square" lIns="34290" tIns="17145" rIns="34290" bIns="17145" numCol="1" anchor="t" anchorCtr="0" compatLnSpc="1"/>
          <a:lstStyle/>
          <a:p>
            <a:endParaRPr lang="en-US" sz="675">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674" name="Shape7"/>
          <p:cNvSpPr/>
          <p:nvPr/>
        </p:nvSpPr>
        <p:spPr>
          <a:xfrm rot="18900000">
            <a:off x="7012305" y="3844290"/>
            <a:ext cx="1330643" cy="247650"/>
          </a:xfrm>
          <a:prstGeom prst="rect">
            <a:avLst/>
          </a:prstGeom>
          <a:effectLst/>
        </p:spPr>
        <p:txBody>
          <a:bodyPr wrap="square">
            <a:spAutoFit/>
          </a:bodyPr>
          <a:lstStyle/>
          <a:p>
            <a:pPr>
              <a:lnSpc>
                <a:spcPct val="85000"/>
              </a:lnSpc>
            </a:pP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2021</a:t>
            </a:r>
            <a:r>
              <a:rPr lang="zh-CN" altLang="en-US" sz="1200" dirty="0">
                <a:solidFill>
                  <a:schemeClr val="bg1"/>
                </a:solidFill>
                <a:latin typeface="微软雅黑" panose="020B0503020204020204" charset="-122"/>
                <a:ea typeface="微软雅黑" panose="020B0503020204020204" charset="-122"/>
                <a:cs typeface="微软雅黑" panose="020B0503020204020204" charset="-122"/>
                <a:sym typeface="+mn-ea"/>
              </a:rPr>
              <a:t>年</a:t>
            </a: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bg1"/>
                </a:solidFill>
                <a:latin typeface="微软雅黑" panose="020B0503020204020204" charset="-122"/>
                <a:ea typeface="微软雅黑" panose="020B0503020204020204" charset="-122"/>
                <a:cs typeface="微软雅黑" panose="020B0503020204020204" charset="-122"/>
                <a:sym typeface="+mn-ea"/>
              </a:rPr>
              <a:t>27位</a:t>
            </a:r>
            <a:endParaRPr lang="zh-CN" altLang="en-US" sz="1200" dirty="0">
              <a:solidFill>
                <a:schemeClr val="bg1"/>
              </a:solidFill>
              <a:latin typeface="微软雅黑" panose="020B0503020204020204" charset="-122"/>
              <a:ea typeface="微软雅黑" panose="020B0503020204020204" charset="-122"/>
              <a:cs typeface="微软雅黑" panose="020B0503020204020204" charset="-122"/>
              <a:sym typeface="+mn-ea"/>
            </a:endParaRPr>
          </a:p>
        </p:txBody>
      </p:sp>
      <p:sp>
        <p:nvSpPr>
          <p:cNvPr id="1048675" name="Shape8"/>
          <p:cNvSpPr/>
          <p:nvPr/>
        </p:nvSpPr>
        <p:spPr bwMode="auto">
          <a:xfrm>
            <a:off x="6614926" y="2612753"/>
            <a:ext cx="1140869" cy="1176875"/>
          </a:xfrm>
          <a:custGeom>
            <a:avLst/>
            <a:gdLst/>
            <a:ahLst/>
            <a:cxnLst>
              <a:cxn ang="0">
                <a:pos x="316" y="49"/>
              </a:cxn>
              <a:cxn ang="0">
                <a:pos x="711" y="442"/>
              </a:cxn>
              <a:cxn ang="0">
                <a:pos x="686" y="465"/>
              </a:cxn>
              <a:cxn ang="0">
                <a:pos x="735" y="514"/>
              </a:cxn>
              <a:cxn ang="0">
                <a:pos x="493" y="758"/>
              </a:cxn>
              <a:cxn ang="0">
                <a:pos x="49" y="316"/>
              </a:cxn>
              <a:cxn ang="0">
                <a:pos x="0" y="363"/>
              </a:cxn>
              <a:cxn ang="0">
                <a:pos x="0" y="0"/>
              </a:cxn>
              <a:cxn ang="0">
                <a:pos x="364" y="0"/>
              </a:cxn>
              <a:cxn ang="0">
                <a:pos x="316" y="49"/>
              </a:cxn>
            </a:cxnLst>
            <a:rect l="0" t="0" r="r" b="b"/>
            <a:pathLst>
              <a:path w="735" h="758">
                <a:moveTo>
                  <a:pt x="316" y="49"/>
                </a:moveTo>
                <a:lnTo>
                  <a:pt x="711" y="442"/>
                </a:lnTo>
                <a:lnTo>
                  <a:pt x="686" y="465"/>
                </a:lnTo>
                <a:lnTo>
                  <a:pt x="735" y="514"/>
                </a:lnTo>
                <a:lnTo>
                  <a:pt x="493" y="758"/>
                </a:lnTo>
                <a:lnTo>
                  <a:pt x="49" y="316"/>
                </a:lnTo>
                <a:lnTo>
                  <a:pt x="0" y="363"/>
                </a:lnTo>
                <a:lnTo>
                  <a:pt x="0" y="0"/>
                </a:lnTo>
                <a:lnTo>
                  <a:pt x="364" y="0"/>
                </a:lnTo>
                <a:lnTo>
                  <a:pt x="316" y="49"/>
                </a:lnTo>
                <a:close/>
              </a:path>
            </a:pathLst>
          </a:custGeom>
          <a:solidFill>
            <a:schemeClr val="accent2"/>
          </a:solidFill>
          <a:ln w="9525">
            <a:noFill/>
            <a:round/>
          </a:ln>
          <a:effectLst/>
        </p:spPr>
        <p:txBody>
          <a:bodyPr vert="horz" wrap="square" lIns="34290" tIns="17145" rIns="34290" bIns="17145" numCol="1" anchor="t" anchorCtr="0" compatLnSpc="1"/>
          <a:lstStyle/>
          <a:p>
            <a:endParaRPr lang="en-US" sz="675">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676" name="Shape9"/>
          <p:cNvSpPr/>
          <p:nvPr/>
        </p:nvSpPr>
        <p:spPr>
          <a:xfrm rot="2700000">
            <a:off x="6540974" y="3072908"/>
            <a:ext cx="1274162" cy="247650"/>
          </a:xfrm>
          <a:prstGeom prst="rect">
            <a:avLst/>
          </a:prstGeom>
          <a:effectLst/>
        </p:spPr>
        <p:txBody>
          <a:bodyPr wrap="square">
            <a:spAutoFit/>
          </a:bodyPr>
          <a:lstStyle/>
          <a:p>
            <a:pPr>
              <a:lnSpc>
                <a:spcPct val="85000"/>
              </a:lnSpc>
            </a:pP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2022</a:t>
            </a:r>
            <a:r>
              <a:rPr lang="zh-CN" altLang="en-US" sz="1200" dirty="0">
                <a:solidFill>
                  <a:schemeClr val="bg1"/>
                </a:solidFill>
                <a:latin typeface="微软雅黑" panose="020B0503020204020204" charset="-122"/>
                <a:ea typeface="微软雅黑" panose="020B0503020204020204" charset="-122"/>
                <a:cs typeface="微软雅黑" panose="020B0503020204020204" charset="-122"/>
                <a:sym typeface="+mn-ea"/>
              </a:rPr>
              <a:t>年</a:t>
            </a: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bg1"/>
                </a:solidFill>
                <a:latin typeface="微软雅黑" panose="020B0503020204020204" charset="-122"/>
                <a:ea typeface="微软雅黑" panose="020B0503020204020204" charset="-122"/>
                <a:cs typeface="微软雅黑" panose="020B0503020204020204" charset="-122"/>
                <a:sym typeface="+mn-ea"/>
              </a:rPr>
              <a:t>2</a:t>
            </a: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1</a:t>
            </a:r>
            <a:r>
              <a:rPr lang="zh-CN" altLang="en-US" sz="1200" dirty="0">
                <a:solidFill>
                  <a:schemeClr val="bg1"/>
                </a:solidFill>
                <a:latin typeface="微软雅黑" panose="020B0503020204020204" charset="-122"/>
                <a:ea typeface="微软雅黑" panose="020B0503020204020204" charset="-122"/>
                <a:cs typeface="微软雅黑" panose="020B0503020204020204" charset="-122"/>
                <a:sym typeface="+mn-ea"/>
              </a:rPr>
              <a:t>位</a:t>
            </a:r>
            <a:endParaRPr lang="zh-CN" altLang="en-US" sz="1200" dirty="0">
              <a:solidFill>
                <a:schemeClr val="bg1"/>
              </a:solidFill>
              <a:latin typeface="微软雅黑" panose="020B0503020204020204" charset="-122"/>
              <a:ea typeface="微软雅黑" panose="020B0503020204020204" charset="-122"/>
              <a:cs typeface="微软雅黑" panose="020B0503020204020204" charset="-122"/>
              <a:sym typeface="+mn-ea"/>
            </a:endParaRPr>
          </a:p>
        </p:txBody>
      </p:sp>
      <p:sp>
        <p:nvSpPr>
          <p:cNvPr id="1048677" name="Shape10"/>
          <p:cNvSpPr/>
          <p:nvPr/>
        </p:nvSpPr>
        <p:spPr bwMode="auto">
          <a:xfrm>
            <a:off x="7173719" y="1907870"/>
            <a:ext cx="1130003" cy="1159796"/>
          </a:xfrm>
          <a:custGeom>
            <a:avLst/>
            <a:gdLst/>
            <a:ahLst/>
            <a:cxnLst>
              <a:cxn ang="0">
                <a:pos x="728" y="350"/>
              </a:cxn>
              <a:cxn ang="0">
                <a:pos x="684" y="306"/>
              </a:cxn>
              <a:cxn ang="0">
                <a:pos x="241" y="747"/>
              </a:cxn>
              <a:cxn ang="0">
                <a:pos x="0" y="507"/>
              </a:cxn>
              <a:cxn ang="0">
                <a:pos x="42" y="460"/>
              </a:cxn>
              <a:cxn ang="0">
                <a:pos x="21" y="439"/>
              </a:cxn>
              <a:cxn ang="0">
                <a:pos x="419" y="42"/>
              </a:cxn>
              <a:cxn ang="0">
                <a:pos x="377" y="0"/>
              </a:cxn>
              <a:cxn ang="0">
                <a:pos x="728" y="0"/>
              </a:cxn>
              <a:cxn ang="0">
                <a:pos x="728" y="350"/>
              </a:cxn>
            </a:cxnLst>
            <a:rect l="0" t="0" r="r" b="b"/>
            <a:pathLst>
              <a:path w="728" h="747">
                <a:moveTo>
                  <a:pt x="728" y="350"/>
                </a:moveTo>
                <a:lnTo>
                  <a:pt x="684" y="306"/>
                </a:lnTo>
                <a:lnTo>
                  <a:pt x="241" y="747"/>
                </a:lnTo>
                <a:lnTo>
                  <a:pt x="0" y="507"/>
                </a:lnTo>
                <a:lnTo>
                  <a:pt x="42" y="460"/>
                </a:lnTo>
                <a:lnTo>
                  <a:pt x="21" y="439"/>
                </a:lnTo>
                <a:lnTo>
                  <a:pt x="419" y="42"/>
                </a:lnTo>
                <a:lnTo>
                  <a:pt x="377" y="0"/>
                </a:lnTo>
                <a:lnTo>
                  <a:pt x="728" y="0"/>
                </a:lnTo>
                <a:lnTo>
                  <a:pt x="728" y="350"/>
                </a:lnTo>
                <a:close/>
              </a:path>
            </a:pathLst>
          </a:custGeom>
          <a:solidFill>
            <a:schemeClr val="accent1"/>
          </a:solidFill>
          <a:ln w="9525">
            <a:noFill/>
            <a:round/>
          </a:ln>
          <a:effectLst/>
        </p:spPr>
        <p:txBody>
          <a:bodyPr vert="horz" wrap="square" lIns="34290" tIns="17145" rIns="34290" bIns="17145" numCol="1" anchor="t" anchorCtr="0" compatLnSpc="1"/>
          <a:lstStyle/>
          <a:p>
            <a:endParaRPr lang="en-US" sz="675">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678" name="Shape11"/>
          <p:cNvSpPr/>
          <p:nvPr/>
        </p:nvSpPr>
        <p:spPr>
          <a:xfrm rot="18900000">
            <a:off x="7155180" y="2233295"/>
            <a:ext cx="1424940" cy="247650"/>
          </a:xfrm>
          <a:prstGeom prst="rect">
            <a:avLst/>
          </a:prstGeom>
          <a:effectLst/>
        </p:spPr>
        <p:txBody>
          <a:bodyPr wrap="square">
            <a:spAutoFit/>
          </a:bodyPr>
          <a:lstStyle/>
          <a:p>
            <a:pPr>
              <a:lnSpc>
                <a:spcPct val="85000"/>
              </a:lnSpc>
            </a:pP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2023</a:t>
            </a:r>
            <a:r>
              <a:rPr lang="zh-CN" altLang="en-US" sz="1200" dirty="0">
                <a:solidFill>
                  <a:schemeClr val="bg1"/>
                </a:solidFill>
                <a:latin typeface="微软雅黑" panose="020B0503020204020204" charset="-122"/>
                <a:ea typeface="微软雅黑" panose="020B0503020204020204" charset="-122"/>
                <a:cs typeface="微软雅黑" panose="020B0503020204020204" charset="-122"/>
                <a:sym typeface="+mn-ea"/>
              </a:rPr>
              <a:t>年</a:t>
            </a: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bg1"/>
                </a:solidFill>
                <a:latin typeface="微软雅黑" panose="020B0503020204020204" charset="-122"/>
                <a:ea typeface="微软雅黑" panose="020B0503020204020204" charset="-122"/>
                <a:cs typeface="微软雅黑" panose="020B0503020204020204" charset="-122"/>
                <a:sym typeface="+mn-ea"/>
              </a:rPr>
              <a:t>前</a:t>
            </a: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20</a:t>
            </a:r>
            <a:r>
              <a:rPr lang="zh-CN" altLang="en-US" sz="1200" dirty="0">
                <a:solidFill>
                  <a:schemeClr val="bg1"/>
                </a:solidFill>
                <a:latin typeface="微软雅黑" panose="020B0503020204020204" charset="-122"/>
                <a:ea typeface="微软雅黑" panose="020B0503020204020204" charset="-122"/>
                <a:cs typeface="微软雅黑" panose="020B0503020204020204" charset="-122"/>
                <a:sym typeface="+mn-ea"/>
              </a:rPr>
              <a:t>位</a:t>
            </a:r>
            <a:endParaRPr lang="zh-CN" altLang="en-US" sz="1200" dirty="0">
              <a:solidFill>
                <a:schemeClr val="bg1"/>
              </a:solidFill>
              <a:latin typeface="微软雅黑" panose="020B0503020204020204" charset="-122"/>
              <a:ea typeface="微软雅黑" panose="020B0503020204020204" charset="-122"/>
              <a:cs typeface="微软雅黑" panose="020B0503020204020204" charset="-122"/>
              <a:sym typeface="+mn-ea"/>
            </a:endParaRPr>
          </a:p>
        </p:txBody>
      </p:sp>
      <p:sp>
        <p:nvSpPr>
          <p:cNvPr id="1048679" name="Shape12"/>
          <p:cNvSpPr/>
          <p:nvPr/>
        </p:nvSpPr>
        <p:spPr bwMode="auto">
          <a:xfrm>
            <a:off x="6618030" y="1189013"/>
            <a:ext cx="1130003" cy="1167560"/>
          </a:xfrm>
          <a:custGeom>
            <a:avLst/>
            <a:gdLst/>
            <a:ahLst/>
            <a:cxnLst>
              <a:cxn ang="0">
                <a:pos x="313" y="41"/>
              </a:cxn>
              <a:cxn ang="0">
                <a:pos x="709" y="437"/>
              </a:cxn>
              <a:cxn ang="0">
                <a:pos x="682" y="463"/>
              </a:cxn>
              <a:cxn ang="0">
                <a:pos x="728" y="509"/>
              </a:cxn>
              <a:cxn ang="0">
                <a:pos x="483" y="752"/>
              </a:cxn>
              <a:cxn ang="0">
                <a:pos x="41" y="312"/>
              </a:cxn>
              <a:cxn ang="0">
                <a:pos x="0" y="352"/>
              </a:cxn>
              <a:cxn ang="0">
                <a:pos x="0" y="0"/>
              </a:cxn>
              <a:cxn ang="0">
                <a:pos x="349" y="0"/>
              </a:cxn>
              <a:cxn ang="0">
                <a:pos x="313" y="41"/>
              </a:cxn>
            </a:cxnLst>
            <a:rect l="0" t="0" r="r" b="b"/>
            <a:pathLst>
              <a:path w="728" h="752">
                <a:moveTo>
                  <a:pt x="313" y="41"/>
                </a:moveTo>
                <a:lnTo>
                  <a:pt x="709" y="437"/>
                </a:lnTo>
                <a:lnTo>
                  <a:pt x="682" y="463"/>
                </a:lnTo>
                <a:lnTo>
                  <a:pt x="728" y="509"/>
                </a:lnTo>
                <a:lnTo>
                  <a:pt x="483" y="752"/>
                </a:lnTo>
                <a:lnTo>
                  <a:pt x="41" y="312"/>
                </a:lnTo>
                <a:lnTo>
                  <a:pt x="0" y="352"/>
                </a:lnTo>
                <a:lnTo>
                  <a:pt x="0" y="0"/>
                </a:lnTo>
                <a:lnTo>
                  <a:pt x="349" y="0"/>
                </a:lnTo>
                <a:lnTo>
                  <a:pt x="313" y="41"/>
                </a:lnTo>
                <a:close/>
              </a:path>
            </a:pathLst>
          </a:custGeom>
          <a:solidFill>
            <a:schemeClr val="accent2"/>
          </a:solidFill>
          <a:ln w="9525">
            <a:noFill/>
            <a:round/>
          </a:ln>
          <a:effectLst/>
        </p:spPr>
        <p:txBody>
          <a:bodyPr vert="horz" wrap="square" lIns="34290" tIns="17145" rIns="34290" bIns="17145" numCol="1" anchor="t" anchorCtr="0" compatLnSpc="1"/>
          <a:lstStyle/>
          <a:p>
            <a:endParaRPr lang="en-US" sz="675">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680" name="Shape13"/>
          <p:cNvSpPr/>
          <p:nvPr/>
        </p:nvSpPr>
        <p:spPr>
          <a:xfrm rot="2700000">
            <a:off x="6573940" y="1662206"/>
            <a:ext cx="1274162" cy="326390"/>
          </a:xfrm>
          <a:prstGeom prst="rect">
            <a:avLst/>
          </a:prstGeom>
          <a:effectLst/>
        </p:spPr>
        <p:txBody>
          <a:bodyPr wrap="square">
            <a:spAutoFit/>
          </a:bodyPr>
          <a:lstStyle/>
          <a:p>
            <a:pPr>
              <a:lnSpc>
                <a:spcPct val="85000"/>
              </a:lnSpc>
            </a:pPr>
            <a:r>
              <a:rPr lang="zh-CN" altLang="en-US" sz="1800" b="1">
                <a:solidFill>
                  <a:schemeClr val="tx1">
                    <a:lumMod val="75000"/>
                    <a:lumOff val="25000"/>
                  </a:schemeClr>
                </a:solidFill>
                <a:sym typeface="+mn-ea"/>
              </a:rPr>
              <a:t>行业排名</a:t>
            </a:r>
            <a:endParaRPr lang="en-US" sz="12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nvGrpSpPr>
          <p:cNvPr id="44" name="Shape14"/>
          <p:cNvGrpSpPr/>
          <p:nvPr>
            <p:custDataLst>
              <p:tags r:id="rId1"/>
            </p:custDataLst>
          </p:nvPr>
        </p:nvGrpSpPr>
        <p:grpSpPr>
          <a:xfrm>
            <a:off x="639604" y="1555433"/>
            <a:ext cx="5259705" cy="515303"/>
            <a:chOff x="1979029" y="3369809"/>
            <a:chExt cx="8177662" cy="839108"/>
          </a:xfrm>
          <a:blipFill>
            <a:blip r:embed="rId2"/>
            <a:stretch>
              <a:fillRect/>
            </a:stretch>
          </a:blipFill>
        </p:grpSpPr>
        <p:grpSp>
          <p:nvGrpSpPr>
            <p:cNvPr id="45" name="组合 10"/>
            <p:cNvGrpSpPr/>
            <p:nvPr/>
          </p:nvGrpSpPr>
          <p:grpSpPr>
            <a:xfrm>
              <a:off x="1979029" y="3369809"/>
              <a:ext cx="839108" cy="839108"/>
              <a:chOff x="1979029" y="3369809"/>
              <a:chExt cx="839108" cy="839108"/>
            </a:xfrm>
            <a:grpFill/>
          </p:grpSpPr>
          <p:sp>
            <p:nvSpPr>
              <p:cNvPr id="1048681" name="Shape14"/>
              <p:cNvSpPr/>
              <p:nvPr>
                <p:custDataLst>
                  <p:tags r:id="rId3"/>
                </p:custDataLst>
              </p:nvPr>
            </p:nvSpPr>
            <p:spPr>
              <a:xfrm>
                <a:off x="1979029" y="3369809"/>
                <a:ext cx="839108" cy="839108"/>
              </a:xfrm>
              <a:prstGeom prst="rect">
                <a:avLst/>
              </a:prstGeom>
              <a:solidFill>
                <a:schemeClr val="tx1">
                  <a:lumMod val="95000"/>
                  <a:lumOff val="5000"/>
                  <a:alpha val="62000"/>
                </a:schemeClr>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350" b="0" i="0" u="none" strike="noStrike" kern="1200" cap="none" spc="0" normalizeH="0" baseline="0" noProof="0">
                  <a:ln>
                    <a:noFill/>
                  </a:ln>
                  <a:solidFill>
                    <a:prstClr val="white"/>
                  </a:solidFill>
                  <a:effectLst/>
                  <a:uLnTx/>
                  <a:uFillTx/>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682" name="Shape14"/>
              <p:cNvSpPr/>
              <p:nvPr>
                <p:custDataLst>
                  <p:tags r:id="rId4"/>
                </p:custDataLst>
              </p:nvPr>
            </p:nvSpPr>
            <p:spPr>
              <a:xfrm>
                <a:off x="2137326" y="3552967"/>
                <a:ext cx="522514" cy="472791"/>
              </a:xfrm>
              <a:custGeom>
                <a:avLst/>
                <a:gdLst>
                  <a:gd name="connsiteX0" fmla="*/ 310417 w 606580"/>
                  <a:gd name="connsiteY0" fmla="*/ 230326 h 548858"/>
                  <a:gd name="connsiteX1" fmla="*/ 322111 w 606580"/>
                  <a:gd name="connsiteY1" fmla="*/ 237104 h 548858"/>
                  <a:gd name="connsiteX2" fmla="*/ 325730 w 606580"/>
                  <a:gd name="connsiteY2" fmla="*/ 247503 h 548858"/>
                  <a:gd name="connsiteX3" fmla="*/ 321461 w 606580"/>
                  <a:gd name="connsiteY3" fmla="*/ 259295 h 548858"/>
                  <a:gd name="connsiteX4" fmla="*/ 310417 w 606580"/>
                  <a:gd name="connsiteY4" fmla="*/ 265609 h 548858"/>
                  <a:gd name="connsiteX5" fmla="*/ 297292 w 606580"/>
                  <a:gd name="connsiteY5" fmla="*/ 169569 h 548858"/>
                  <a:gd name="connsiteX6" fmla="*/ 297292 w 606580"/>
                  <a:gd name="connsiteY6" fmla="*/ 200759 h 548858"/>
                  <a:gd name="connsiteX7" fmla="*/ 288589 w 606580"/>
                  <a:gd name="connsiteY7" fmla="*/ 194096 h 548858"/>
                  <a:gd name="connsiteX8" fmla="*/ 285719 w 606580"/>
                  <a:gd name="connsiteY8" fmla="*/ 185303 h 548858"/>
                  <a:gd name="connsiteX9" fmla="*/ 288867 w 606580"/>
                  <a:gd name="connsiteY9" fmla="*/ 175770 h 548858"/>
                  <a:gd name="connsiteX10" fmla="*/ 297292 w 606580"/>
                  <a:gd name="connsiteY10" fmla="*/ 169569 h 548858"/>
                  <a:gd name="connsiteX11" fmla="*/ 297303 w 606580"/>
                  <a:gd name="connsiteY11" fmla="*/ 141004 h 548858"/>
                  <a:gd name="connsiteX12" fmla="*/ 297303 w 606580"/>
                  <a:gd name="connsiteY12" fmla="*/ 149903 h 548858"/>
                  <a:gd name="connsiteX13" fmla="*/ 272421 w 606580"/>
                  <a:gd name="connsiteY13" fmla="*/ 161489 h 548858"/>
                  <a:gd name="connsiteX14" fmla="*/ 263044 w 606580"/>
                  <a:gd name="connsiteY14" fmla="*/ 186332 h 548858"/>
                  <a:gd name="connsiteX15" fmla="*/ 271307 w 606580"/>
                  <a:gd name="connsiteY15" fmla="*/ 211174 h 548858"/>
                  <a:gd name="connsiteX16" fmla="*/ 297303 w 606580"/>
                  <a:gd name="connsiteY16" fmla="*/ 226468 h 548858"/>
                  <a:gd name="connsiteX17" fmla="*/ 297303 w 606580"/>
                  <a:gd name="connsiteY17" fmla="*/ 264288 h 548858"/>
                  <a:gd name="connsiteX18" fmla="*/ 288483 w 606580"/>
                  <a:gd name="connsiteY18" fmla="*/ 256687 h 548858"/>
                  <a:gd name="connsiteX19" fmla="*/ 283005 w 606580"/>
                  <a:gd name="connsiteY19" fmla="*/ 244266 h 548858"/>
                  <a:gd name="connsiteX20" fmla="*/ 259424 w 606580"/>
                  <a:gd name="connsiteY20" fmla="*/ 246768 h 548858"/>
                  <a:gd name="connsiteX21" fmla="*/ 271957 w 606580"/>
                  <a:gd name="connsiteY21" fmla="*/ 274299 h 548858"/>
                  <a:gd name="connsiteX22" fmla="*/ 297303 w 606580"/>
                  <a:gd name="connsiteY22" fmla="*/ 285886 h 548858"/>
                  <a:gd name="connsiteX23" fmla="*/ 297303 w 606580"/>
                  <a:gd name="connsiteY23" fmla="*/ 302293 h 548858"/>
                  <a:gd name="connsiteX24" fmla="*/ 310393 w 606580"/>
                  <a:gd name="connsiteY24" fmla="*/ 302293 h 548858"/>
                  <a:gd name="connsiteX25" fmla="*/ 310393 w 606580"/>
                  <a:gd name="connsiteY25" fmla="*/ 285422 h 548858"/>
                  <a:gd name="connsiteX26" fmla="*/ 337874 w 606580"/>
                  <a:gd name="connsiteY26" fmla="*/ 271703 h 548858"/>
                  <a:gd name="connsiteX27" fmla="*/ 347808 w 606580"/>
                  <a:gd name="connsiteY27" fmla="*/ 244266 h 548858"/>
                  <a:gd name="connsiteX28" fmla="*/ 339916 w 606580"/>
                  <a:gd name="connsiteY28" fmla="*/ 220350 h 548858"/>
                  <a:gd name="connsiteX29" fmla="*/ 310393 w 606580"/>
                  <a:gd name="connsiteY29" fmla="*/ 205149 h 548858"/>
                  <a:gd name="connsiteX30" fmla="*/ 310393 w 606580"/>
                  <a:gd name="connsiteY30" fmla="*/ 169832 h 548858"/>
                  <a:gd name="connsiteX31" fmla="*/ 321255 w 606580"/>
                  <a:gd name="connsiteY31" fmla="*/ 184292 h 548858"/>
                  <a:gd name="connsiteX32" fmla="*/ 344094 w 606580"/>
                  <a:gd name="connsiteY32" fmla="*/ 181326 h 548858"/>
                  <a:gd name="connsiteX33" fmla="*/ 333232 w 606580"/>
                  <a:gd name="connsiteY33" fmla="*/ 159728 h 548858"/>
                  <a:gd name="connsiteX34" fmla="*/ 310393 w 606580"/>
                  <a:gd name="connsiteY34" fmla="*/ 149903 h 548858"/>
                  <a:gd name="connsiteX35" fmla="*/ 310393 w 606580"/>
                  <a:gd name="connsiteY35" fmla="*/ 141004 h 548858"/>
                  <a:gd name="connsiteX36" fmla="*/ 303337 w 606580"/>
                  <a:gd name="connsiteY36" fmla="*/ 87148 h 548858"/>
                  <a:gd name="connsiteX37" fmla="*/ 438141 w 606580"/>
                  <a:gd name="connsiteY37" fmla="*/ 221741 h 548858"/>
                  <a:gd name="connsiteX38" fmla="*/ 303337 w 606580"/>
                  <a:gd name="connsiteY38" fmla="*/ 356426 h 548858"/>
                  <a:gd name="connsiteX39" fmla="*/ 168440 w 606580"/>
                  <a:gd name="connsiteY39" fmla="*/ 221741 h 548858"/>
                  <a:gd name="connsiteX40" fmla="*/ 303337 w 606580"/>
                  <a:gd name="connsiteY40" fmla="*/ 87148 h 548858"/>
                  <a:gd name="connsiteX41" fmla="*/ 37882 w 606580"/>
                  <a:gd name="connsiteY41" fmla="*/ 37913 h 548858"/>
                  <a:gd name="connsiteX42" fmla="*/ 37882 w 606580"/>
                  <a:gd name="connsiteY42" fmla="*/ 405364 h 548858"/>
                  <a:gd name="connsiteX43" fmla="*/ 568698 w 606580"/>
                  <a:gd name="connsiteY43" fmla="*/ 405364 h 548858"/>
                  <a:gd name="connsiteX44" fmla="*/ 568698 w 606580"/>
                  <a:gd name="connsiteY44" fmla="*/ 37913 h 548858"/>
                  <a:gd name="connsiteX45" fmla="*/ 18941 w 606580"/>
                  <a:gd name="connsiteY45" fmla="*/ 0 h 548858"/>
                  <a:gd name="connsiteX46" fmla="*/ 587639 w 606580"/>
                  <a:gd name="connsiteY46" fmla="*/ 0 h 548858"/>
                  <a:gd name="connsiteX47" fmla="*/ 606580 w 606580"/>
                  <a:gd name="connsiteY47" fmla="*/ 18910 h 548858"/>
                  <a:gd name="connsiteX48" fmla="*/ 606580 w 606580"/>
                  <a:gd name="connsiteY48" fmla="*/ 424274 h 548858"/>
                  <a:gd name="connsiteX49" fmla="*/ 587639 w 606580"/>
                  <a:gd name="connsiteY49" fmla="*/ 443184 h 548858"/>
                  <a:gd name="connsiteX50" fmla="*/ 322278 w 606580"/>
                  <a:gd name="connsiteY50" fmla="*/ 443184 h 548858"/>
                  <a:gd name="connsiteX51" fmla="*/ 322278 w 606580"/>
                  <a:gd name="connsiteY51" fmla="*/ 511038 h 548858"/>
                  <a:gd name="connsiteX52" fmla="*/ 450223 w 606580"/>
                  <a:gd name="connsiteY52" fmla="*/ 511038 h 548858"/>
                  <a:gd name="connsiteX53" fmla="*/ 450223 w 606580"/>
                  <a:gd name="connsiteY53" fmla="*/ 548858 h 548858"/>
                  <a:gd name="connsiteX54" fmla="*/ 156357 w 606580"/>
                  <a:gd name="connsiteY54" fmla="*/ 548858 h 548858"/>
                  <a:gd name="connsiteX55" fmla="*/ 156357 w 606580"/>
                  <a:gd name="connsiteY55" fmla="*/ 511038 h 548858"/>
                  <a:gd name="connsiteX56" fmla="*/ 284303 w 606580"/>
                  <a:gd name="connsiteY56" fmla="*/ 511038 h 548858"/>
                  <a:gd name="connsiteX57" fmla="*/ 284303 w 606580"/>
                  <a:gd name="connsiteY57" fmla="*/ 443184 h 548858"/>
                  <a:gd name="connsiteX58" fmla="*/ 18941 w 606580"/>
                  <a:gd name="connsiteY58" fmla="*/ 443184 h 548858"/>
                  <a:gd name="connsiteX59" fmla="*/ 0 w 606580"/>
                  <a:gd name="connsiteY59" fmla="*/ 424274 h 548858"/>
                  <a:gd name="connsiteX60" fmla="*/ 0 w 606580"/>
                  <a:gd name="connsiteY60" fmla="*/ 18910 h 548858"/>
                  <a:gd name="connsiteX61" fmla="*/ 18941 w 606580"/>
                  <a:gd name="connsiteY61" fmla="*/ 0 h 54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606580" h="548858">
                    <a:moveTo>
                      <a:pt x="310417" y="230326"/>
                    </a:moveTo>
                    <a:cubicBezTo>
                      <a:pt x="315893" y="231905"/>
                      <a:pt x="319791" y="234133"/>
                      <a:pt x="322111" y="237104"/>
                    </a:cubicBezTo>
                    <a:cubicBezTo>
                      <a:pt x="324524" y="239983"/>
                      <a:pt x="325730" y="243418"/>
                      <a:pt x="325730" y="247503"/>
                    </a:cubicBezTo>
                    <a:cubicBezTo>
                      <a:pt x="325730" y="252053"/>
                      <a:pt x="324245" y="255953"/>
                      <a:pt x="321461" y="259295"/>
                    </a:cubicBezTo>
                    <a:cubicBezTo>
                      <a:pt x="318584" y="262638"/>
                      <a:pt x="314965" y="264774"/>
                      <a:pt x="310417" y="265609"/>
                    </a:cubicBezTo>
                    <a:close/>
                    <a:moveTo>
                      <a:pt x="297292" y="169569"/>
                    </a:moveTo>
                    <a:lnTo>
                      <a:pt x="297292" y="200759"/>
                    </a:lnTo>
                    <a:cubicBezTo>
                      <a:pt x="293404" y="199093"/>
                      <a:pt x="290441" y="196872"/>
                      <a:pt x="288589" y="194096"/>
                    </a:cubicBezTo>
                    <a:cubicBezTo>
                      <a:pt x="286645" y="191412"/>
                      <a:pt x="285719" y="188450"/>
                      <a:pt x="285719" y="185303"/>
                    </a:cubicBezTo>
                    <a:cubicBezTo>
                      <a:pt x="285719" y="181786"/>
                      <a:pt x="286738" y="178639"/>
                      <a:pt x="288867" y="175770"/>
                    </a:cubicBezTo>
                    <a:cubicBezTo>
                      <a:pt x="290904" y="172809"/>
                      <a:pt x="293774" y="170772"/>
                      <a:pt x="297292" y="169569"/>
                    </a:cubicBezTo>
                    <a:close/>
                    <a:moveTo>
                      <a:pt x="297303" y="141004"/>
                    </a:moveTo>
                    <a:lnTo>
                      <a:pt x="297303" y="149903"/>
                    </a:lnTo>
                    <a:cubicBezTo>
                      <a:pt x="286997" y="150922"/>
                      <a:pt x="278642" y="154815"/>
                      <a:pt x="272421" y="161489"/>
                    </a:cubicBezTo>
                    <a:cubicBezTo>
                      <a:pt x="266201" y="168256"/>
                      <a:pt x="263044" y="176506"/>
                      <a:pt x="263044" y="186332"/>
                    </a:cubicBezTo>
                    <a:cubicBezTo>
                      <a:pt x="263044" y="196064"/>
                      <a:pt x="265830" y="204407"/>
                      <a:pt x="271307" y="211174"/>
                    </a:cubicBezTo>
                    <a:cubicBezTo>
                      <a:pt x="276878" y="218033"/>
                      <a:pt x="285512" y="223131"/>
                      <a:pt x="297303" y="226468"/>
                    </a:cubicBezTo>
                    <a:lnTo>
                      <a:pt x="297303" y="264288"/>
                    </a:lnTo>
                    <a:cubicBezTo>
                      <a:pt x="294053" y="262712"/>
                      <a:pt x="291082" y="260116"/>
                      <a:pt x="288483" y="256687"/>
                    </a:cubicBezTo>
                    <a:cubicBezTo>
                      <a:pt x="285790" y="253164"/>
                      <a:pt x="284026" y="249086"/>
                      <a:pt x="283005" y="244266"/>
                    </a:cubicBezTo>
                    <a:lnTo>
                      <a:pt x="259424" y="246768"/>
                    </a:lnTo>
                    <a:cubicBezTo>
                      <a:pt x="261281" y="258633"/>
                      <a:pt x="265458" y="267810"/>
                      <a:pt x="271957" y="274299"/>
                    </a:cubicBezTo>
                    <a:cubicBezTo>
                      <a:pt x="278456" y="280787"/>
                      <a:pt x="286904" y="284588"/>
                      <a:pt x="297303" y="285886"/>
                    </a:cubicBezTo>
                    <a:lnTo>
                      <a:pt x="297303" y="302293"/>
                    </a:lnTo>
                    <a:lnTo>
                      <a:pt x="310393" y="302293"/>
                    </a:lnTo>
                    <a:lnTo>
                      <a:pt x="310393" y="285422"/>
                    </a:lnTo>
                    <a:cubicBezTo>
                      <a:pt x="322091" y="283754"/>
                      <a:pt x="331282" y="279212"/>
                      <a:pt x="337874" y="271703"/>
                    </a:cubicBezTo>
                    <a:cubicBezTo>
                      <a:pt x="344465" y="264288"/>
                      <a:pt x="347808" y="255111"/>
                      <a:pt x="347808" y="244266"/>
                    </a:cubicBezTo>
                    <a:cubicBezTo>
                      <a:pt x="347808" y="234533"/>
                      <a:pt x="345208" y="226561"/>
                      <a:pt x="339916" y="220350"/>
                    </a:cubicBezTo>
                    <a:cubicBezTo>
                      <a:pt x="334717" y="214047"/>
                      <a:pt x="324876" y="209042"/>
                      <a:pt x="310393" y="205149"/>
                    </a:cubicBezTo>
                    <a:lnTo>
                      <a:pt x="310393" y="169832"/>
                    </a:lnTo>
                    <a:cubicBezTo>
                      <a:pt x="316242" y="172335"/>
                      <a:pt x="319863" y="177155"/>
                      <a:pt x="321255" y="184292"/>
                    </a:cubicBezTo>
                    <a:lnTo>
                      <a:pt x="344094" y="181326"/>
                    </a:lnTo>
                    <a:cubicBezTo>
                      <a:pt x="342516" y="172335"/>
                      <a:pt x="338895" y="165104"/>
                      <a:pt x="333232" y="159728"/>
                    </a:cubicBezTo>
                    <a:cubicBezTo>
                      <a:pt x="327568" y="154352"/>
                      <a:pt x="319956" y="151108"/>
                      <a:pt x="310393" y="149903"/>
                    </a:cubicBezTo>
                    <a:lnTo>
                      <a:pt x="310393" y="141004"/>
                    </a:lnTo>
                    <a:close/>
                    <a:moveTo>
                      <a:pt x="303337" y="87148"/>
                    </a:moveTo>
                    <a:cubicBezTo>
                      <a:pt x="377795" y="87148"/>
                      <a:pt x="438141" y="147400"/>
                      <a:pt x="438141" y="221741"/>
                    </a:cubicBezTo>
                    <a:cubicBezTo>
                      <a:pt x="438141" y="296175"/>
                      <a:pt x="377795" y="356426"/>
                      <a:pt x="303337" y="356426"/>
                    </a:cubicBezTo>
                    <a:cubicBezTo>
                      <a:pt x="228786" y="356426"/>
                      <a:pt x="168440" y="296082"/>
                      <a:pt x="168440" y="221741"/>
                    </a:cubicBezTo>
                    <a:cubicBezTo>
                      <a:pt x="168440" y="147400"/>
                      <a:pt x="228786" y="87148"/>
                      <a:pt x="303337" y="87148"/>
                    </a:cubicBezTo>
                    <a:close/>
                    <a:moveTo>
                      <a:pt x="37882" y="37913"/>
                    </a:moveTo>
                    <a:lnTo>
                      <a:pt x="37882" y="405364"/>
                    </a:lnTo>
                    <a:lnTo>
                      <a:pt x="568698" y="405364"/>
                    </a:lnTo>
                    <a:lnTo>
                      <a:pt x="568698" y="37913"/>
                    </a:lnTo>
                    <a:close/>
                    <a:moveTo>
                      <a:pt x="18941" y="0"/>
                    </a:moveTo>
                    <a:lnTo>
                      <a:pt x="587639" y="0"/>
                    </a:lnTo>
                    <a:cubicBezTo>
                      <a:pt x="598038" y="0"/>
                      <a:pt x="606580" y="8528"/>
                      <a:pt x="606580" y="18910"/>
                    </a:cubicBezTo>
                    <a:lnTo>
                      <a:pt x="606580" y="424274"/>
                    </a:lnTo>
                    <a:cubicBezTo>
                      <a:pt x="606580" y="434656"/>
                      <a:pt x="598038" y="443184"/>
                      <a:pt x="587639" y="443184"/>
                    </a:cubicBezTo>
                    <a:lnTo>
                      <a:pt x="322278" y="443184"/>
                    </a:lnTo>
                    <a:lnTo>
                      <a:pt x="322278" y="511038"/>
                    </a:lnTo>
                    <a:lnTo>
                      <a:pt x="450223" y="511038"/>
                    </a:lnTo>
                    <a:lnTo>
                      <a:pt x="450223" y="548858"/>
                    </a:lnTo>
                    <a:lnTo>
                      <a:pt x="156357" y="548858"/>
                    </a:lnTo>
                    <a:lnTo>
                      <a:pt x="156357" y="511038"/>
                    </a:lnTo>
                    <a:lnTo>
                      <a:pt x="284303" y="511038"/>
                    </a:lnTo>
                    <a:lnTo>
                      <a:pt x="284303" y="443184"/>
                    </a:lnTo>
                    <a:lnTo>
                      <a:pt x="18941" y="443184"/>
                    </a:lnTo>
                    <a:cubicBezTo>
                      <a:pt x="8542" y="443184"/>
                      <a:pt x="0" y="434656"/>
                      <a:pt x="0" y="424274"/>
                    </a:cubicBezTo>
                    <a:lnTo>
                      <a:pt x="0" y="18910"/>
                    </a:lnTo>
                    <a:cubicBezTo>
                      <a:pt x="0" y="8528"/>
                      <a:pt x="8542" y="0"/>
                      <a:pt x="1894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350" b="0" i="0" u="none" strike="noStrike" kern="1200" cap="none" spc="0" normalizeH="0" baseline="0" noProof="0">
                  <a:ln>
                    <a:noFill/>
                  </a:ln>
                  <a:solidFill>
                    <a:prstClr val="white"/>
                  </a:solidFill>
                  <a:effectLst/>
                  <a:uLnTx/>
                  <a:uFillTx/>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grpSp>
          <p:nvGrpSpPr>
            <p:cNvPr id="46" name="组合 11"/>
            <p:cNvGrpSpPr/>
            <p:nvPr/>
          </p:nvGrpSpPr>
          <p:grpSpPr>
            <a:xfrm>
              <a:off x="4425214" y="3369809"/>
              <a:ext cx="839108" cy="839108"/>
              <a:chOff x="1979029" y="3369809"/>
              <a:chExt cx="839108" cy="839108"/>
            </a:xfrm>
            <a:grpFill/>
          </p:grpSpPr>
          <p:sp>
            <p:nvSpPr>
              <p:cNvPr id="1048683" name="Shape14"/>
              <p:cNvSpPr/>
              <p:nvPr>
                <p:custDataLst>
                  <p:tags r:id="rId5"/>
                </p:custDataLst>
              </p:nvPr>
            </p:nvSpPr>
            <p:spPr>
              <a:xfrm>
                <a:off x="1979029" y="3369809"/>
                <a:ext cx="839108" cy="839108"/>
              </a:xfrm>
              <a:prstGeom prst="rect">
                <a:avLst/>
              </a:prstGeom>
              <a:solidFill>
                <a:schemeClr val="tx1">
                  <a:lumMod val="95000"/>
                  <a:lumOff val="5000"/>
                  <a:alpha val="62000"/>
                </a:schemeClr>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350" b="0" i="0" u="none" strike="noStrike" kern="1200" cap="none" spc="0" normalizeH="0" baseline="0" noProof="0">
                  <a:ln>
                    <a:noFill/>
                  </a:ln>
                  <a:solidFill>
                    <a:prstClr val="white"/>
                  </a:solidFill>
                  <a:effectLst/>
                  <a:uLnTx/>
                  <a:uFillTx/>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684" name="Shape14"/>
              <p:cNvSpPr/>
              <p:nvPr>
                <p:custDataLst>
                  <p:tags r:id="rId6"/>
                </p:custDataLst>
              </p:nvPr>
            </p:nvSpPr>
            <p:spPr>
              <a:xfrm>
                <a:off x="2137326" y="3533597"/>
                <a:ext cx="522514" cy="511531"/>
              </a:xfrm>
              <a:custGeom>
                <a:avLst/>
                <a:gdLst>
                  <a:gd name="connsiteX0" fmla="*/ 458310 w 607639"/>
                  <a:gd name="connsiteY0" fmla="*/ 445743 h 594867"/>
                  <a:gd name="connsiteX1" fmla="*/ 475124 w 607639"/>
                  <a:gd name="connsiteY1" fmla="*/ 445743 h 594867"/>
                  <a:gd name="connsiteX2" fmla="*/ 500389 w 607639"/>
                  <a:gd name="connsiteY2" fmla="*/ 470978 h 594867"/>
                  <a:gd name="connsiteX3" fmla="*/ 525654 w 607639"/>
                  <a:gd name="connsiteY3" fmla="*/ 445743 h 594867"/>
                  <a:gd name="connsiteX4" fmla="*/ 542468 w 607639"/>
                  <a:gd name="connsiteY4" fmla="*/ 445743 h 594867"/>
                  <a:gd name="connsiteX5" fmla="*/ 542468 w 607639"/>
                  <a:gd name="connsiteY5" fmla="*/ 462537 h 594867"/>
                  <a:gd name="connsiteX6" fmla="*/ 517203 w 607639"/>
                  <a:gd name="connsiteY6" fmla="*/ 487771 h 594867"/>
                  <a:gd name="connsiteX7" fmla="*/ 542468 w 607639"/>
                  <a:gd name="connsiteY7" fmla="*/ 513005 h 594867"/>
                  <a:gd name="connsiteX8" fmla="*/ 542468 w 607639"/>
                  <a:gd name="connsiteY8" fmla="*/ 529798 h 594867"/>
                  <a:gd name="connsiteX9" fmla="*/ 534106 w 607639"/>
                  <a:gd name="connsiteY9" fmla="*/ 533263 h 594867"/>
                  <a:gd name="connsiteX10" fmla="*/ 525654 w 607639"/>
                  <a:gd name="connsiteY10" fmla="*/ 529798 h 594867"/>
                  <a:gd name="connsiteX11" fmla="*/ 500389 w 607639"/>
                  <a:gd name="connsiteY11" fmla="*/ 504564 h 594867"/>
                  <a:gd name="connsiteX12" fmla="*/ 475124 w 607639"/>
                  <a:gd name="connsiteY12" fmla="*/ 529798 h 594867"/>
                  <a:gd name="connsiteX13" fmla="*/ 466672 w 607639"/>
                  <a:gd name="connsiteY13" fmla="*/ 533263 h 594867"/>
                  <a:gd name="connsiteX14" fmla="*/ 458310 w 607639"/>
                  <a:gd name="connsiteY14" fmla="*/ 529798 h 594867"/>
                  <a:gd name="connsiteX15" fmla="*/ 458310 w 607639"/>
                  <a:gd name="connsiteY15" fmla="*/ 513005 h 594867"/>
                  <a:gd name="connsiteX16" fmla="*/ 483575 w 607639"/>
                  <a:gd name="connsiteY16" fmla="*/ 487771 h 594867"/>
                  <a:gd name="connsiteX17" fmla="*/ 458310 w 607639"/>
                  <a:gd name="connsiteY17" fmla="*/ 462537 h 594867"/>
                  <a:gd name="connsiteX18" fmla="*/ 458310 w 607639"/>
                  <a:gd name="connsiteY18" fmla="*/ 445743 h 594867"/>
                  <a:gd name="connsiteX19" fmla="*/ 500379 w 607639"/>
                  <a:gd name="connsiteY19" fmla="*/ 404517 h 594867"/>
                  <a:gd name="connsiteX20" fmla="*/ 416975 w 607639"/>
                  <a:gd name="connsiteY20" fmla="*/ 487784 h 594867"/>
                  <a:gd name="connsiteX21" fmla="*/ 500379 w 607639"/>
                  <a:gd name="connsiteY21" fmla="*/ 571051 h 594867"/>
                  <a:gd name="connsiteX22" fmla="*/ 583784 w 607639"/>
                  <a:gd name="connsiteY22" fmla="*/ 487784 h 594867"/>
                  <a:gd name="connsiteX23" fmla="*/ 500379 w 607639"/>
                  <a:gd name="connsiteY23" fmla="*/ 404517 h 594867"/>
                  <a:gd name="connsiteX24" fmla="*/ 500379 w 607639"/>
                  <a:gd name="connsiteY24" fmla="*/ 380701 h 594867"/>
                  <a:gd name="connsiteX25" fmla="*/ 607639 w 607639"/>
                  <a:gd name="connsiteY25" fmla="*/ 487784 h 594867"/>
                  <a:gd name="connsiteX26" fmla="*/ 500379 w 607639"/>
                  <a:gd name="connsiteY26" fmla="*/ 594867 h 594867"/>
                  <a:gd name="connsiteX27" fmla="*/ 393120 w 607639"/>
                  <a:gd name="connsiteY27" fmla="*/ 487784 h 594867"/>
                  <a:gd name="connsiteX28" fmla="*/ 500379 w 607639"/>
                  <a:gd name="connsiteY28" fmla="*/ 380701 h 594867"/>
                  <a:gd name="connsiteX29" fmla="*/ 262121 w 607639"/>
                  <a:gd name="connsiteY29" fmla="*/ 178474 h 594867"/>
                  <a:gd name="connsiteX30" fmla="*/ 262121 w 607639"/>
                  <a:gd name="connsiteY30" fmla="*/ 280598 h 594867"/>
                  <a:gd name="connsiteX31" fmla="*/ 289445 w 607639"/>
                  <a:gd name="connsiteY31" fmla="*/ 253312 h 594867"/>
                  <a:gd name="connsiteX32" fmla="*/ 297812 w 607639"/>
                  <a:gd name="connsiteY32" fmla="*/ 249845 h 594867"/>
                  <a:gd name="connsiteX33" fmla="*/ 306267 w 607639"/>
                  <a:gd name="connsiteY33" fmla="*/ 253312 h 594867"/>
                  <a:gd name="connsiteX34" fmla="*/ 333592 w 607639"/>
                  <a:gd name="connsiteY34" fmla="*/ 280598 h 594867"/>
                  <a:gd name="connsiteX35" fmla="*/ 333592 w 607639"/>
                  <a:gd name="connsiteY35" fmla="*/ 178474 h 594867"/>
                  <a:gd name="connsiteX36" fmla="*/ 357446 w 607639"/>
                  <a:gd name="connsiteY36" fmla="*/ 23820 h 594867"/>
                  <a:gd name="connsiteX37" fmla="*/ 357446 w 607639"/>
                  <a:gd name="connsiteY37" fmla="*/ 154653 h 594867"/>
                  <a:gd name="connsiteX38" fmla="*/ 562425 w 607639"/>
                  <a:gd name="connsiteY38" fmla="*/ 154653 h 594867"/>
                  <a:gd name="connsiteX39" fmla="*/ 481786 w 607639"/>
                  <a:gd name="connsiteY39" fmla="*/ 23820 h 594867"/>
                  <a:gd name="connsiteX40" fmla="*/ 262121 w 607639"/>
                  <a:gd name="connsiteY40" fmla="*/ 23820 h 594867"/>
                  <a:gd name="connsiteX41" fmla="*/ 262121 w 607639"/>
                  <a:gd name="connsiteY41" fmla="*/ 154653 h 594867"/>
                  <a:gd name="connsiteX42" fmla="*/ 333592 w 607639"/>
                  <a:gd name="connsiteY42" fmla="*/ 154653 h 594867"/>
                  <a:gd name="connsiteX43" fmla="*/ 333592 w 607639"/>
                  <a:gd name="connsiteY43" fmla="*/ 23820 h 594867"/>
                  <a:gd name="connsiteX44" fmla="*/ 113927 w 607639"/>
                  <a:gd name="connsiteY44" fmla="*/ 23820 h 594867"/>
                  <a:gd name="connsiteX45" fmla="*/ 33199 w 607639"/>
                  <a:gd name="connsiteY45" fmla="*/ 154653 h 594867"/>
                  <a:gd name="connsiteX46" fmla="*/ 238267 w 607639"/>
                  <a:gd name="connsiteY46" fmla="*/ 154653 h 594867"/>
                  <a:gd name="connsiteX47" fmla="*/ 238267 w 607639"/>
                  <a:gd name="connsiteY47" fmla="*/ 23820 h 594867"/>
                  <a:gd name="connsiteX48" fmla="*/ 107251 w 607639"/>
                  <a:gd name="connsiteY48" fmla="*/ 0 h 594867"/>
                  <a:gd name="connsiteX49" fmla="*/ 250194 w 607639"/>
                  <a:gd name="connsiteY49" fmla="*/ 0 h 594867"/>
                  <a:gd name="connsiteX50" fmla="*/ 345519 w 607639"/>
                  <a:gd name="connsiteY50" fmla="*/ 0 h 594867"/>
                  <a:gd name="connsiteX51" fmla="*/ 488462 w 607639"/>
                  <a:gd name="connsiteY51" fmla="*/ 0 h 594867"/>
                  <a:gd name="connsiteX52" fmla="*/ 498608 w 607639"/>
                  <a:gd name="connsiteY52" fmla="*/ 5689 h 594867"/>
                  <a:gd name="connsiteX53" fmla="*/ 593933 w 607639"/>
                  <a:gd name="connsiteY53" fmla="*/ 160342 h 594867"/>
                  <a:gd name="connsiteX54" fmla="*/ 594734 w 607639"/>
                  <a:gd name="connsiteY54" fmla="*/ 161853 h 594867"/>
                  <a:gd name="connsiteX55" fmla="*/ 594823 w 607639"/>
                  <a:gd name="connsiteY55" fmla="*/ 162208 h 594867"/>
                  <a:gd name="connsiteX56" fmla="*/ 595357 w 607639"/>
                  <a:gd name="connsiteY56" fmla="*/ 163808 h 594867"/>
                  <a:gd name="connsiteX57" fmla="*/ 595446 w 607639"/>
                  <a:gd name="connsiteY57" fmla="*/ 164430 h 594867"/>
                  <a:gd name="connsiteX58" fmla="*/ 595713 w 607639"/>
                  <a:gd name="connsiteY58" fmla="*/ 166475 h 594867"/>
                  <a:gd name="connsiteX59" fmla="*/ 595713 w 607639"/>
                  <a:gd name="connsiteY59" fmla="*/ 166564 h 594867"/>
                  <a:gd name="connsiteX60" fmla="*/ 595713 w 607639"/>
                  <a:gd name="connsiteY60" fmla="*/ 368768 h 594867"/>
                  <a:gd name="connsiteX61" fmla="*/ 583786 w 607639"/>
                  <a:gd name="connsiteY61" fmla="*/ 380678 h 594867"/>
                  <a:gd name="connsiteX62" fmla="*/ 571860 w 607639"/>
                  <a:gd name="connsiteY62" fmla="*/ 368768 h 594867"/>
                  <a:gd name="connsiteX63" fmla="*/ 571860 w 607639"/>
                  <a:gd name="connsiteY63" fmla="*/ 178474 h 594867"/>
                  <a:gd name="connsiteX64" fmla="*/ 357446 w 607639"/>
                  <a:gd name="connsiteY64" fmla="*/ 178474 h 594867"/>
                  <a:gd name="connsiteX65" fmla="*/ 357446 w 607639"/>
                  <a:gd name="connsiteY65" fmla="*/ 309307 h 594867"/>
                  <a:gd name="connsiteX66" fmla="*/ 350058 w 607639"/>
                  <a:gd name="connsiteY66" fmla="*/ 320328 h 594867"/>
                  <a:gd name="connsiteX67" fmla="*/ 345519 w 607639"/>
                  <a:gd name="connsiteY67" fmla="*/ 321217 h 594867"/>
                  <a:gd name="connsiteX68" fmla="*/ 337063 w 607639"/>
                  <a:gd name="connsiteY68" fmla="*/ 317750 h 594867"/>
                  <a:gd name="connsiteX69" fmla="*/ 297812 w 607639"/>
                  <a:gd name="connsiteY69" fmla="*/ 278554 h 594867"/>
                  <a:gd name="connsiteX70" fmla="*/ 258650 w 607639"/>
                  <a:gd name="connsiteY70" fmla="*/ 317750 h 594867"/>
                  <a:gd name="connsiteX71" fmla="*/ 245655 w 607639"/>
                  <a:gd name="connsiteY71" fmla="*/ 320328 h 594867"/>
                  <a:gd name="connsiteX72" fmla="*/ 238267 w 607639"/>
                  <a:gd name="connsiteY72" fmla="*/ 309307 h 594867"/>
                  <a:gd name="connsiteX73" fmla="*/ 238267 w 607639"/>
                  <a:gd name="connsiteY73" fmla="*/ 178474 h 594867"/>
                  <a:gd name="connsiteX74" fmla="*/ 23853 w 607639"/>
                  <a:gd name="connsiteY74" fmla="*/ 178474 h 594867"/>
                  <a:gd name="connsiteX75" fmla="*/ 23853 w 607639"/>
                  <a:gd name="connsiteY75" fmla="*/ 487780 h 594867"/>
                  <a:gd name="connsiteX76" fmla="*/ 345519 w 607639"/>
                  <a:gd name="connsiteY76" fmla="*/ 487780 h 594867"/>
                  <a:gd name="connsiteX77" fmla="*/ 357446 w 607639"/>
                  <a:gd name="connsiteY77" fmla="*/ 499690 h 594867"/>
                  <a:gd name="connsiteX78" fmla="*/ 345519 w 607639"/>
                  <a:gd name="connsiteY78" fmla="*/ 511600 h 594867"/>
                  <a:gd name="connsiteX79" fmla="*/ 11927 w 607639"/>
                  <a:gd name="connsiteY79" fmla="*/ 511600 h 594867"/>
                  <a:gd name="connsiteX80" fmla="*/ 0 w 607639"/>
                  <a:gd name="connsiteY80" fmla="*/ 499690 h 594867"/>
                  <a:gd name="connsiteX81" fmla="*/ 0 w 607639"/>
                  <a:gd name="connsiteY81" fmla="*/ 166564 h 594867"/>
                  <a:gd name="connsiteX82" fmla="*/ 0 w 607639"/>
                  <a:gd name="connsiteY82" fmla="*/ 166475 h 594867"/>
                  <a:gd name="connsiteX83" fmla="*/ 178 w 607639"/>
                  <a:gd name="connsiteY83" fmla="*/ 164430 h 594867"/>
                  <a:gd name="connsiteX84" fmla="*/ 356 w 607639"/>
                  <a:gd name="connsiteY84" fmla="*/ 163808 h 594867"/>
                  <a:gd name="connsiteX85" fmla="*/ 890 w 607639"/>
                  <a:gd name="connsiteY85" fmla="*/ 162208 h 594867"/>
                  <a:gd name="connsiteX86" fmla="*/ 979 w 607639"/>
                  <a:gd name="connsiteY86" fmla="*/ 161853 h 594867"/>
                  <a:gd name="connsiteX87" fmla="*/ 1780 w 607639"/>
                  <a:gd name="connsiteY87" fmla="*/ 160342 h 594867"/>
                  <a:gd name="connsiteX88" fmla="*/ 97105 w 607639"/>
                  <a:gd name="connsiteY88" fmla="*/ 5689 h 594867"/>
                  <a:gd name="connsiteX89" fmla="*/ 107251 w 607639"/>
                  <a:gd name="connsiteY89" fmla="*/ 0 h 59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7639" h="594867">
                    <a:moveTo>
                      <a:pt x="458310" y="445743"/>
                    </a:moveTo>
                    <a:cubicBezTo>
                      <a:pt x="462936" y="441034"/>
                      <a:pt x="470498" y="441034"/>
                      <a:pt x="475124" y="445743"/>
                    </a:cubicBezTo>
                    <a:lnTo>
                      <a:pt x="500389" y="470978"/>
                    </a:lnTo>
                    <a:lnTo>
                      <a:pt x="525654" y="445743"/>
                    </a:lnTo>
                    <a:cubicBezTo>
                      <a:pt x="530280" y="441034"/>
                      <a:pt x="537842" y="441034"/>
                      <a:pt x="542468" y="445743"/>
                    </a:cubicBezTo>
                    <a:cubicBezTo>
                      <a:pt x="547094" y="450364"/>
                      <a:pt x="547094" y="457916"/>
                      <a:pt x="542468" y="462537"/>
                    </a:cubicBezTo>
                    <a:lnTo>
                      <a:pt x="517203" y="487771"/>
                    </a:lnTo>
                    <a:lnTo>
                      <a:pt x="542468" y="513005"/>
                    </a:lnTo>
                    <a:cubicBezTo>
                      <a:pt x="547094" y="517625"/>
                      <a:pt x="547094" y="525178"/>
                      <a:pt x="542468" y="529798"/>
                    </a:cubicBezTo>
                    <a:cubicBezTo>
                      <a:pt x="540155" y="532108"/>
                      <a:pt x="537130" y="533263"/>
                      <a:pt x="534106" y="533263"/>
                    </a:cubicBezTo>
                    <a:cubicBezTo>
                      <a:pt x="530992" y="533263"/>
                      <a:pt x="527967" y="532108"/>
                      <a:pt x="525654" y="529798"/>
                    </a:cubicBezTo>
                    <a:lnTo>
                      <a:pt x="500389" y="504564"/>
                    </a:lnTo>
                    <a:lnTo>
                      <a:pt x="475124" y="529798"/>
                    </a:lnTo>
                    <a:cubicBezTo>
                      <a:pt x="472811" y="532108"/>
                      <a:pt x="469786" y="533263"/>
                      <a:pt x="466672" y="533263"/>
                    </a:cubicBezTo>
                    <a:cubicBezTo>
                      <a:pt x="463648" y="533263"/>
                      <a:pt x="460623" y="532108"/>
                      <a:pt x="458310" y="529798"/>
                    </a:cubicBezTo>
                    <a:cubicBezTo>
                      <a:pt x="453595" y="525178"/>
                      <a:pt x="453595" y="517625"/>
                      <a:pt x="458310" y="513005"/>
                    </a:cubicBezTo>
                    <a:lnTo>
                      <a:pt x="483575" y="487771"/>
                    </a:lnTo>
                    <a:lnTo>
                      <a:pt x="458310" y="462537"/>
                    </a:lnTo>
                    <a:cubicBezTo>
                      <a:pt x="453595" y="457916"/>
                      <a:pt x="453595" y="450364"/>
                      <a:pt x="458310" y="445743"/>
                    </a:cubicBezTo>
                    <a:close/>
                    <a:moveTo>
                      <a:pt x="500379" y="404517"/>
                    </a:moveTo>
                    <a:cubicBezTo>
                      <a:pt x="454360" y="404517"/>
                      <a:pt x="416975" y="441841"/>
                      <a:pt x="416975" y="487784"/>
                    </a:cubicBezTo>
                    <a:cubicBezTo>
                      <a:pt x="416975" y="533728"/>
                      <a:pt x="454360" y="571051"/>
                      <a:pt x="500379" y="571051"/>
                    </a:cubicBezTo>
                    <a:cubicBezTo>
                      <a:pt x="546399" y="571051"/>
                      <a:pt x="583784" y="533728"/>
                      <a:pt x="583784" y="487784"/>
                    </a:cubicBezTo>
                    <a:cubicBezTo>
                      <a:pt x="583784" y="441841"/>
                      <a:pt x="546399" y="404517"/>
                      <a:pt x="500379" y="404517"/>
                    </a:cubicBezTo>
                    <a:close/>
                    <a:moveTo>
                      <a:pt x="500379" y="380701"/>
                    </a:moveTo>
                    <a:cubicBezTo>
                      <a:pt x="559483" y="380701"/>
                      <a:pt x="607639" y="428778"/>
                      <a:pt x="607639" y="487784"/>
                    </a:cubicBezTo>
                    <a:cubicBezTo>
                      <a:pt x="607639" y="546791"/>
                      <a:pt x="559483" y="594867"/>
                      <a:pt x="500379" y="594867"/>
                    </a:cubicBezTo>
                    <a:cubicBezTo>
                      <a:pt x="441276" y="594867"/>
                      <a:pt x="393120" y="546791"/>
                      <a:pt x="393120" y="487784"/>
                    </a:cubicBezTo>
                    <a:cubicBezTo>
                      <a:pt x="393120" y="428778"/>
                      <a:pt x="441276" y="380701"/>
                      <a:pt x="500379" y="380701"/>
                    </a:cubicBezTo>
                    <a:close/>
                    <a:moveTo>
                      <a:pt x="262121" y="178474"/>
                    </a:moveTo>
                    <a:lnTo>
                      <a:pt x="262121" y="280598"/>
                    </a:lnTo>
                    <a:lnTo>
                      <a:pt x="289445" y="253312"/>
                    </a:lnTo>
                    <a:cubicBezTo>
                      <a:pt x="291760" y="251001"/>
                      <a:pt x="294786" y="249845"/>
                      <a:pt x="297812" y="249845"/>
                    </a:cubicBezTo>
                    <a:cubicBezTo>
                      <a:pt x="300927" y="249845"/>
                      <a:pt x="303953" y="251001"/>
                      <a:pt x="306267" y="253312"/>
                    </a:cubicBezTo>
                    <a:lnTo>
                      <a:pt x="333592" y="280598"/>
                    </a:lnTo>
                    <a:lnTo>
                      <a:pt x="333592" y="178474"/>
                    </a:lnTo>
                    <a:close/>
                    <a:moveTo>
                      <a:pt x="357446" y="23820"/>
                    </a:moveTo>
                    <a:lnTo>
                      <a:pt x="357446" y="154653"/>
                    </a:lnTo>
                    <a:lnTo>
                      <a:pt x="562425" y="154653"/>
                    </a:lnTo>
                    <a:lnTo>
                      <a:pt x="481786" y="23820"/>
                    </a:lnTo>
                    <a:close/>
                    <a:moveTo>
                      <a:pt x="262121" y="23820"/>
                    </a:moveTo>
                    <a:lnTo>
                      <a:pt x="262121" y="154653"/>
                    </a:lnTo>
                    <a:lnTo>
                      <a:pt x="333592" y="154653"/>
                    </a:lnTo>
                    <a:lnTo>
                      <a:pt x="333592" y="23820"/>
                    </a:lnTo>
                    <a:close/>
                    <a:moveTo>
                      <a:pt x="113927" y="23820"/>
                    </a:moveTo>
                    <a:lnTo>
                      <a:pt x="33199" y="154653"/>
                    </a:lnTo>
                    <a:lnTo>
                      <a:pt x="238267" y="154653"/>
                    </a:lnTo>
                    <a:lnTo>
                      <a:pt x="238267" y="23820"/>
                    </a:lnTo>
                    <a:close/>
                    <a:moveTo>
                      <a:pt x="107251" y="0"/>
                    </a:moveTo>
                    <a:lnTo>
                      <a:pt x="250194" y="0"/>
                    </a:lnTo>
                    <a:lnTo>
                      <a:pt x="345519" y="0"/>
                    </a:lnTo>
                    <a:lnTo>
                      <a:pt x="488462" y="0"/>
                    </a:lnTo>
                    <a:cubicBezTo>
                      <a:pt x="492645" y="0"/>
                      <a:pt x="496472" y="2133"/>
                      <a:pt x="498608" y="5689"/>
                    </a:cubicBezTo>
                    <a:lnTo>
                      <a:pt x="593933" y="160342"/>
                    </a:lnTo>
                    <a:cubicBezTo>
                      <a:pt x="594200" y="160786"/>
                      <a:pt x="594467" y="161320"/>
                      <a:pt x="594734" y="161853"/>
                    </a:cubicBezTo>
                    <a:cubicBezTo>
                      <a:pt x="594734" y="161942"/>
                      <a:pt x="594823" y="162119"/>
                      <a:pt x="594823" y="162208"/>
                    </a:cubicBezTo>
                    <a:cubicBezTo>
                      <a:pt x="595090" y="162742"/>
                      <a:pt x="595268" y="163275"/>
                      <a:pt x="595357" y="163808"/>
                    </a:cubicBezTo>
                    <a:cubicBezTo>
                      <a:pt x="595357" y="163986"/>
                      <a:pt x="595446" y="164164"/>
                      <a:pt x="595446" y="164430"/>
                    </a:cubicBezTo>
                    <a:cubicBezTo>
                      <a:pt x="595624" y="165053"/>
                      <a:pt x="595713" y="165764"/>
                      <a:pt x="595713" y="166475"/>
                    </a:cubicBezTo>
                    <a:cubicBezTo>
                      <a:pt x="595713" y="166475"/>
                      <a:pt x="595713" y="166564"/>
                      <a:pt x="595713" y="166564"/>
                    </a:cubicBezTo>
                    <a:lnTo>
                      <a:pt x="595713" y="368768"/>
                    </a:lnTo>
                    <a:cubicBezTo>
                      <a:pt x="595713" y="375345"/>
                      <a:pt x="590373" y="380678"/>
                      <a:pt x="583786" y="380678"/>
                    </a:cubicBezTo>
                    <a:cubicBezTo>
                      <a:pt x="577200" y="380678"/>
                      <a:pt x="571860" y="375345"/>
                      <a:pt x="571860" y="368768"/>
                    </a:cubicBezTo>
                    <a:lnTo>
                      <a:pt x="571860" y="178474"/>
                    </a:lnTo>
                    <a:lnTo>
                      <a:pt x="357446" y="178474"/>
                    </a:lnTo>
                    <a:lnTo>
                      <a:pt x="357446" y="309307"/>
                    </a:lnTo>
                    <a:cubicBezTo>
                      <a:pt x="357446" y="314106"/>
                      <a:pt x="354508" y="318461"/>
                      <a:pt x="350058" y="320328"/>
                    </a:cubicBezTo>
                    <a:cubicBezTo>
                      <a:pt x="348545" y="320950"/>
                      <a:pt x="347032" y="321217"/>
                      <a:pt x="345519" y="321217"/>
                    </a:cubicBezTo>
                    <a:cubicBezTo>
                      <a:pt x="342404" y="321217"/>
                      <a:pt x="339377" y="319972"/>
                      <a:pt x="337063" y="317750"/>
                    </a:cubicBezTo>
                    <a:lnTo>
                      <a:pt x="297812" y="278554"/>
                    </a:lnTo>
                    <a:lnTo>
                      <a:pt x="258650" y="317750"/>
                    </a:lnTo>
                    <a:cubicBezTo>
                      <a:pt x="255178" y="321128"/>
                      <a:pt x="250105" y="322106"/>
                      <a:pt x="245655" y="320328"/>
                    </a:cubicBezTo>
                    <a:cubicBezTo>
                      <a:pt x="241205" y="318461"/>
                      <a:pt x="238267" y="314106"/>
                      <a:pt x="238267" y="309307"/>
                    </a:cubicBezTo>
                    <a:lnTo>
                      <a:pt x="238267" y="178474"/>
                    </a:lnTo>
                    <a:lnTo>
                      <a:pt x="23853" y="178474"/>
                    </a:lnTo>
                    <a:lnTo>
                      <a:pt x="23853" y="487780"/>
                    </a:lnTo>
                    <a:lnTo>
                      <a:pt x="345519" y="487780"/>
                    </a:lnTo>
                    <a:cubicBezTo>
                      <a:pt x="352105" y="487780"/>
                      <a:pt x="357446" y="493113"/>
                      <a:pt x="357446" y="499690"/>
                    </a:cubicBezTo>
                    <a:cubicBezTo>
                      <a:pt x="357446" y="506267"/>
                      <a:pt x="352105" y="511600"/>
                      <a:pt x="345519" y="511600"/>
                    </a:cubicBezTo>
                    <a:lnTo>
                      <a:pt x="11927" y="511600"/>
                    </a:lnTo>
                    <a:cubicBezTo>
                      <a:pt x="5340" y="511600"/>
                      <a:pt x="0" y="506267"/>
                      <a:pt x="0" y="499690"/>
                    </a:cubicBezTo>
                    <a:lnTo>
                      <a:pt x="0" y="166564"/>
                    </a:lnTo>
                    <a:cubicBezTo>
                      <a:pt x="0" y="166564"/>
                      <a:pt x="0" y="166475"/>
                      <a:pt x="0" y="166475"/>
                    </a:cubicBezTo>
                    <a:cubicBezTo>
                      <a:pt x="0" y="165764"/>
                      <a:pt x="89" y="165053"/>
                      <a:pt x="178" y="164430"/>
                    </a:cubicBezTo>
                    <a:cubicBezTo>
                      <a:pt x="267" y="164164"/>
                      <a:pt x="267" y="163986"/>
                      <a:pt x="356" y="163808"/>
                    </a:cubicBezTo>
                    <a:cubicBezTo>
                      <a:pt x="445" y="163275"/>
                      <a:pt x="623" y="162742"/>
                      <a:pt x="890" y="162208"/>
                    </a:cubicBezTo>
                    <a:cubicBezTo>
                      <a:pt x="890" y="162119"/>
                      <a:pt x="890" y="161942"/>
                      <a:pt x="979" y="161853"/>
                    </a:cubicBezTo>
                    <a:cubicBezTo>
                      <a:pt x="1246" y="161320"/>
                      <a:pt x="1424" y="160786"/>
                      <a:pt x="1780" y="160342"/>
                    </a:cubicBezTo>
                    <a:lnTo>
                      <a:pt x="97105" y="5689"/>
                    </a:lnTo>
                    <a:cubicBezTo>
                      <a:pt x="99241" y="2133"/>
                      <a:pt x="103068" y="0"/>
                      <a:pt x="10725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350" b="0" i="0" u="none" strike="noStrike" kern="1200" cap="none" spc="0" normalizeH="0" baseline="0" noProof="0">
                  <a:ln>
                    <a:noFill/>
                  </a:ln>
                  <a:solidFill>
                    <a:prstClr val="white"/>
                  </a:solidFill>
                  <a:effectLst/>
                  <a:uLnTx/>
                  <a:uFillTx/>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grpSp>
          <p:nvGrpSpPr>
            <p:cNvPr id="47" name="组合 12"/>
            <p:cNvGrpSpPr/>
            <p:nvPr/>
          </p:nvGrpSpPr>
          <p:grpSpPr>
            <a:xfrm>
              <a:off x="6871399" y="3369809"/>
              <a:ext cx="839108" cy="839108"/>
              <a:chOff x="1979029" y="3369809"/>
              <a:chExt cx="839108" cy="839108"/>
            </a:xfrm>
            <a:grpFill/>
          </p:grpSpPr>
          <p:sp>
            <p:nvSpPr>
              <p:cNvPr id="1048685" name="Shape14"/>
              <p:cNvSpPr/>
              <p:nvPr>
                <p:custDataLst>
                  <p:tags r:id="rId7"/>
                </p:custDataLst>
              </p:nvPr>
            </p:nvSpPr>
            <p:spPr>
              <a:xfrm>
                <a:off x="1979029" y="3369809"/>
                <a:ext cx="839108" cy="839108"/>
              </a:xfrm>
              <a:prstGeom prst="rect">
                <a:avLst/>
              </a:prstGeom>
              <a:solidFill>
                <a:schemeClr val="tx1">
                  <a:lumMod val="95000"/>
                  <a:lumOff val="5000"/>
                  <a:alpha val="62000"/>
                </a:schemeClr>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350" b="0" i="0" u="none" strike="noStrike" kern="1200" cap="none" spc="0" normalizeH="0" baseline="0" noProof="0">
                  <a:ln>
                    <a:noFill/>
                  </a:ln>
                  <a:solidFill>
                    <a:prstClr val="white"/>
                  </a:solidFill>
                  <a:effectLst/>
                  <a:uLnTx/>
                  <a:uFillTx/>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686" name="Shape14"/>
              <p:cNvSpPr/>
              <p:nvPr>
                <p:custDataLst>
                  <p:tags r:id="rId8"/>
                </p:custDataLst>
              </p:nvPr>
            </p:nvSpPr>
            <p:spPr>
              <a:xfrm>
                <a:off x="2137326" y="3528532"/>
                <a:ext cx="522514" cy="521662"/>
              </a:xfrm>
              <a:custGeom>
                <a:avLst/>
                <a:gdLst>
                  <a:gd name="connsiteX0" fmla="*/ 383735 w 606580"/>
                  <a:gd name="connsiteY0" fmla="*/ 494381 h 605592"/>
                  <a:gd name="connsiteX1" fmla="*/ 544695 w 606580"/>
                  <a:gd name="connsiteY1" fmla="*/ 494381 h 605592"/>
                  <a:gd name="connsiteX2" fmla="*/ 544695 w 606580"/>
                  <a:gd name="connsiteY2" fmla="*/ 519079 h 605592"/>
                  <a:gd name="connsiteX3" fmla="*/ 383735 w 606580"/>
                  <a:gd name="connsiteY3" fmla="*/ 519079 h 605592"/>
                  <a:gd name="connsiteX4" fmla="*/ 55676 w 606580"/>
                  <a:gd name="connsiteY4" fmla="*/ 438775 h 605592"/>
                  <a:gd name="connsiteX5" fmla="*/ 303360 w 606580"/>
                  <a:gd name="connsiteY5" fmla="*/ 438775 h 605592"/>
                  <a:gd name="connsiteX6" fmla="*/ 303360 w 606580"/>
                  <a:gd name="connsiteY6" fmla="*/ 463473 h 605592"/>
                  <a:gd name="connsiteX7" fmla="*/ 55676 w 606580"/>
                  <a:gd name="connsiteY7" fmla="*/ 463473 h 605592"/>
                  <a:gd name="connsiteX8" fmla="*/ 383735 w 606580"/>
                  <a:gd name="connsiteY8" fmla="*/ 420217 h 605592"/>
                  <a:gd name="connsiteX9" fmla="*/ 544695 w 606580"/>
                  <a:gd name="connsiteY9" fmla="*/ 420217 h 605592"/>
                  <a:gd name="connsiteX10" fmla="*/ 544695 w 606580"/>
                  <a:gd name="connsiteY10" fmla="*/ 444985 h 605592"/>
                  <a:gd name="connsiteX11" fmla="*/ 383735 w 606580"/>
                  <a:gd name="connsiteY11" fmla="*/ 444985 h 605592"/>
                  <a:gd name="connsiteX12" fmla="*/ 55676 w 606580"/>
                  <a:gd name="connsiteY12" fmla="*/ 377031 h 605592"/>
                  <a:gd name="connsiteX13" fmla="*/ 303360 w 606580"/>
                  <a:gd name="connsiteY13" fmla="*/ 377031 h 605592"/>
                  <a:gd name="connsiteX14" fmla="*/ 303360 w 606580"/>
                  <a:gd name="connsiteY14" fmla="*/ 401658 h 605592"/>
                  <a:gd name="connsiteX15" fmla="*/ 55676 w 606580"/>
                  <a:gd name="connsiteY15" fmla="*/ 401658 h 605592"/>
                  <a:gd name="connsiteX16" fmla="*/ 383735 w 606580"/>
                  <a:gd name="connsiteY16" fmla="*/ 346053 h 605592"/>
                  <a:gd name="connsiteX17" fmla="*/ 544695 w 606580"/>
                  <a:gd name="connsiteY17" fmla="*/ 346053 h 605592"/>
                  <a:gd name="connsiteX18" fmla="*/ 544695 w 606580"/>
                  <a:gd name="connsiteY18" fmla="*/ 370821 h 605592"/>
                  <a:gd name="connsiteX19" fmla="*/ 383735 w 606580"/>
                  <a:gd name="connsiteY19" fmla="*/ 370821 h 605592"/>
                  <a:gd name="connsiteX20" fmla="*/ 55676 w 606580"/>
                  <a:gd name="connsiteY20" fmla="*/ 315145 h 605592"/>
                  <a:gd name="connsiteX21" fmla="*/ 303360 w 606580"/>
                  <a:gd name="connsiteY21" fmla="*/ 315145 h 605592"/>
                  <a:gd name="connsiteX22" fmla="*/ 303360 w 606580"/>
                  <a:gd name="connsiteY22" fmla="*/ 339913 h 605592"/>
                  <a:gd name="connsiteX23" fmla="*/ 55676 w 606580"/>
                  <a:gd name="connsiteY23" fmla="*/ 339913 h 605592"/>
                  <a:gd name="connsiteX24" fmla="*/ 383735 w 606580"/>
                  <a:gd name="connsiteY24" fmla="*/ 271888 h 605592"/>
                  <a:gd name="connsiteX25" fmla="*/ 544695 w 606580"/>
                  <a:gd name="connsiteY25" fmla="*/ 271888 h 605592"/>
                  <a:gd name="connsiteX26" fmla="*/ 544695 w 606580"/>
                  <a:gd name="connsiteY26" fmla="*/ 296656 h 605592"/>
                  <a:gd name="connsiteX27" fmla="*/ 383735 w 606580"/>
                  <a:gd name="connsiteY27" fmla="*/ 296656 h 605592"/>
                  <a:gd name="connsiteX28" fmla="*/ 55676 w 606580"/>
                  <a:gd name="connsiteY28" fmla="*/ 253330 h 605592"/>
                  <a:gd name="connsiteX29" fmla="*/ 303360 w 606580"/>
                  <a:gd name="connsiteY29" fmla="*/ 253330 h 605592"/>
                  <a:gd name="connsiteX30" fmla="*/ 303360 w 606580"/>
                  <a:gd name="connsiteY30" fmla="*/ 278098 h 605592"/>
                  <a:gd name="connsiteX31" fmla="*/ 55676 w 606580"/>
                  <a:gd name="connsiteY31" fmla="*/ 278098 h 605592"/>
                  <a:gd name="connsiteX32" fmla="*/ 383735 w 606580"/>
                  <a:gd name="connsiteY32" fmla="*/ 197724 h 605592"/>
                  <a:gd name="connsiteX33" fmla="*/ 544695 w 606580"/>
                  <a:gd name="connsiteY33" fmla="*/ 197724 h 605592"/>
                  <a:gd name="connsiteX34" fmla="*/ 544695 w 606580"/>
                  <a:gd name="connsiteY34" fmla="*/ 222492 h 605592"/>
                  <a:gd name="connsiteX35" fmla="*/ 383735 w 606580"/>
                  <a:gd name="connsiteY35" fmla="*/ 222492 h 605592"/>
                  <a:gd name="connsiteX36" fmla="*/ 55676 w 606580"/>
                  <a:gd name="connsiteY36" fmla="*/ 179165 h 605592"/>
                  <a:gd name="connsiteX37" fmla="*/ 136191 w 606580"/>
                  <a:gd name="connsiteY37" fmla="*/ 179165 h 605592"/>
                  <a:gd name="connsiteX38" fmla="*/ 136191 w 606580"/>
                  <a:gd name="connsiteY38" fmla="*/ 203933 h 605592"/>
                  <a:gd name="connsiteX39" fmla="*/ 55676 w 606580"/>
                  <a:gd name="connsiteY39" fmla="*/ 203933 h 605592"/>
                  <a:gd name="connsiteX40" fmla="*/ 55676 w 606580"/>
                  <a:gd name="connsiteY40" fmla="*/ 129770 h 605592"/>
                  <a:gd name="connsiteX41" fmla="*/ 136191 w 606580"/>
                  <a:gd name="connsiteY41" fmla="*/ 129770 h 605592"/>
                  <a:gd name="connsiteX42" fmla="*/ 136191 w 606580"/>
                  <a:gd name="connsiteY42" fmla="*/ 154538 h 605592"/>
                  <a:gd name="connsiteX43" fmla="*/ 55676 w 606580"/>
                  <a:gd name="connsiteY43" fmla="*/ 154538 h 605592"/>
                  <a:gd name="connsiteX44" fmla="*/ 263040 w 606580"/>
                  <a:gd name="connsiteY44" fmla="*/ 116335 h 605592"/>
                  <a:gd name="connsiteX45" fmla="*/ 263040 w 606580"/>
                  <a:gd name="connsiteY45" fmla="*/ 169914 h 605592"/>
                  <a:gd name="connsiteX46" fmla="*/ 316707 w 606580"/>
                  <a:gd name="connsiteY46" fmla="*/ 169914 h 605592"/>
                  <a:gd name="connsiteX47" fmla="*/ 24791 w 606580"/>
                  <a:gd name="connsiteY47" fmla="*/ 98908 h 605592"/>
                  <a:gd name="connsiteX48" fmla="*/ 24791 w 606580"/>
                  <a:gd name="connsiteY48" fmla="*/ 512895 h 605592"/>
                  <a:gd name="connsiteX49" fmla="*/ 334255 w 606580"/>
                  <a:gd name="connsiteY49" fmla="*/ 512895 h 605592"/>
                  <a:gd name="connsiteX50" fmla="*/ 334255 w 606580"/>
                  <a:gd name="connsiteY50" fmla="*/ 194664 h 605592"/>
                  <a:gd name="connsiteX51" fmla="*/ 250691 w 606580"/>
                  <a:gd name="connsiteY51" fmla="*/ 194664 h 605592"/>
                  <a:gd name="connsiteX52" fmla="*/ 238342 w 606580"/>
                  <a:gd name="connsiteY52" fmla="*/ 182336 h 605592"/>
                  <a:gd name="connsiteX53" fmla="*/ 238342 w 606580"/>
                  <a:gd name="connsiteY53" fmla="*/ 98908 h 605592"/>
                  <a:gd name="connsiteX54" fmla="*/ 482813 w 606580"/>
                  <a:gd name="connsiteY54" fmla="*/ 42177 h 605592"/>
                  <a:gd name="connsiteX55" fmla="*/ 482813 w 606580"/>
                  <a:gd name="connsiteY55" fmla="*/ 123565 h 605592"/>
                  <a:gd name="connsiteX56" fmla="*/ 564334 w 606580"/>
                  <a:gd name="connsiteY56" fmla="*/ 123565 h 605592"/>
                  <a:gd name="connsiteX57" fmla="*/ 148558 w 606580"/>
                  <a:gd name="connsiteY57" fmla="*/ 24750 h 605592"/>
                  <a:gd name="connsiteX58" fmla="*/ 148558 w 606580"/>
                  <a:gd name="connsiteY58" fmla="*/ 74158 h 605592"/>
                  <a:gd name="connsiteX59" fmla="*/ 250691 w 606580"/>
                  <a:gd name="connsiteY59" fmla="*/ 74158 h 605592"/>
                  <a:gd name="connsiteX60" fmla="*/ 259419 w 606580"/>
                  <a:gd name="connsiteY60" fmla="*/ 77773 h 605592"/>
                  <a:gd name="connsiteX61" fmla="*/ 355425 w 606580"/>
                  <a:gd name="connsiteY61" fmla="*/ 173529 h 605592"/>
                  <a:gd name="connsiteX62" fmla="*/ 359046 w 606580"/>
                  <a:gd name="connsiteY62" fmla="*/ 182336 h 605592"/>
                  <a:gd name="connsiteX63" fmla="*/ 359046 w 606580"/>
                  <a:gd name="connsiteY63" fmla="*/ 525316 h 605592"/>
                  <a:gd name="connsiteX64" fmla="*/ 346604 w 606580"/>
                  <a:gd name="connsiteY64" fmla="*/ 537645 h 605592"/>
                  <a:gd name="connsiteX65" fmla="*/ 148558 w 606580"/>
                  <a:gd name="connsiteY65" fmla="*/ 537645 h 605592"/>
                  <a:gd name="connsiteX66" fmla="*/ 148558 w 606580"/>
                  <a:gd name="connsiteY66" fmla="*/ 580935 h 605592"/>
                  <a:gd name="connsiteX67" fmla="*/ 581882 w 606580"/>
                  <a:gd name="connsiteY67" fmla="*/ 580935 h 605592"/>
                  <a:gd name="connsiteX68" fmla="*/ 581882 w 606580"/>
                  <a:gd name="connsiteY68" fmla="*/ 148316 h 605592"/>
                  <a:gd name="connsiteX69" fmla="*/ 470464 w 606580"/>
                  <a:gd name="connsiteY69" fmla="*/ 148316 h 605592"/>
                  <a:gd name="connsiteX70" fmla="*/ 458022 w 606580"/>
                  <a:gd name="connsiteY70" fmla="*/ 135987 h 605592"/>
                  <a:gd name="connsiteX71" fmla="*/ 458022 w 606580"/>
                  <a:gd name="connsiteY71" fmla="*/ 24750 h 605592"/>
                  <a:gd name="connsiteX72" fmla="*/ 136209 w 606580"/>
                  <a:gd name="connsiteY72" fmla="*/ 0 h 605592"/>
                  <a:gd name="connsiteX73" fmla="*/ 470464 w 606580"/>
                  <a:gd name="connsiteY73" fmla="*/ 0 h 605592"/>
                  <a:gd name="connsiteX74" fmla="*/ 479192 w 606580"/>
                  <a:gd name="connsiteY74" fmla="*/ 3615 h 605592"/>
                  <a:gd name="connsiteX75" fmla="*/ 602959 w 606580"/>
                  <a:gd name="connsiteY75" fmla="*/ 127181 h 605592"/>
                  <a:gd name="connsiteX76" fmla="*/ 606580 w 606580"/>
                  <a:gd name="connsiteY76" fmla="*/ 135987 h 605592"/>
                  <a:gd name="connsiteX77" fmla="*/ 606580 w 606580"/>
                  <a:gd name="connsiteY77" fmla="*/ 593263 h 605592"/>
                  <a:gd name="connsiteX78" fmla="*/ 594231 w 606580"/>
                  <a:gd name="connsiteY78" fmla="*/ 605592 h 605592"/>
                  <a:gd name="connsiteX79" fmla="*/ 136209 w 606580"/>
                  <a:gd name="connsiteY79" fmla="*/ 605592 h 605592"/>
                  <a:gd name="connsiteX80" fmla="*/ 123767 w 606580"/>
                  <a:gd name="connsiteY80" fmla="*/ 593263 h 605592"/>
                  <a:gd name="connsiteX81" fmla="*/ 123767 w 606580"/>
                  <a:gd name="connsiteY81" fmla="*/ 537645 h 605592"/>
                  <a:gd name="connsiteX82" fmla="*/ 12349 w 606580"/>
                  <a:gd name="connsiteY82" fmla="*/ 537645 h 605592"/>
                  <a:gd name="connsiteX83" fmla="*/ 0 w 606580"/>
                  <a:gd name="connsiteY83" fmla="*/ 525316 h 605592"/>
                  <a:gd name="connsiteX84" fmla="*/ 0 w 606580"/>
                  <a:gd name="connsiteY84" fmla="*/ 86487 h 605592"/>
                  <a:gd name="connsiteX85" fmla="*/ 12349 w 606580"/>
                  <a:gd name="connsiteY85" fmla="*/ 74158 h 605592"/>
                  <a:gd name="connsiteX86" fmla="*/ 123767 w 606580"/>
                  <a:gd name="connsiteY86" fmla="*/ 74158 h 605592"/>
                  <a:gd name="connsiteX87" fmla="*/ 123767 w 606580"/>
                  <a:gd name="connsiteY87" fmla="*/ 12329 h 605592"/>
                  <a:gd name="connsiteX88" fmla="*/ 136209 w 606580"/>
                  <a:gd name="connsiteY88" fmla="*/ 0 h 60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6580" h="605592">
                    <a:moveTo>
                      <a:pt x="383735" y="494381"/>
                    </a:moveTo>
                    <a:lnTo>
                      <a:pt x="544695" y="494381"/>
                    </a:lnTo>
                    <a:lnTo>
                      <a:pt x="544695" y="519079"/>
                    </a:lnTo>
                    <a:lnTo>
                      <a:pt x="383735" y="519079"/>
                    </a:lnTo>
                    <a:close/>
                    <a:moveTo>
                      <a:pt x="55676" y="438775"/>
                    </a:moveTo>
                    <a:lnTo>
                      <a:pt x="303360" y="438775"/>
                    </a:lnTo>
                    <a:lnTo>
                      <a:pt x="303360" y="463473"/>
                    </a:lnTo>
                    <a:lnTo>
                      <a:pt x="55676" y="463473"/>
                    </a:lnTo>
                    <a:close/>
                    <a:moveTo>
                      <a:pt x="383735" y="420217"/>
                    </a:moveTo>
                    <a:lnTo>
                      <a:pt x="544695" y="420217"/>
                    </a:lnTo>
                    <a:lnTo>
                      <a:pt x="544695" y="444985"/>
                    </a:lnTo>
                    <a:lnTo>
                      <a:pt x="383735" y="444985"/>
                    </a:lnTo>
                    <a:close/>
                    <a:moveTo>
                      <a:pt x="55676" y="377031"/>
                    </a:moveTo>
                    <a:lnTo>
                      <a:pt x="303360" y="377031"/>
                    </a:lnTo>
                    <a:lnTo>
                      <a:pt x="303360" y="401658"/>
                    </a:lnTo>
                    <a:lnTo>
                      <a:pt x="55676" y="401658"/>
                    </a:lnTo>
                    <a:close/>
                    <a:moveTo>
                      <a:pt x="383735" y="346053"/>
                    </a:moveTo>
                    <a:lnTo>
                      <a:pt x="544695" y="346053"/>
                    </a:lnTo>
                    <a:lnTo>
                      <a:pt x="544695" y="370821"/>
                    </a:lnTo>
                    <a:lnTo>
                      <a:pt x="383735" y="370821"/>
                    </a:lnTo>
                    <a:close/>
                    <a:moveTo>
                      <a:pt x="55676" y="315145"/>
                    </a:moveTo>
                    <a:lnTo>
                      <a:pt x="303360" y="315145"/>
                    </a:lnTo>
                    <a:lnTo>
                      <a:pt x="303360" y="339913"/>
                    </a:lnTo>
                    <a:lnTo>
                      <a:pt x="55676" y="339913"/>
                    </a:lnTo>
                    <a:close/>
                    <a:moveTo>
                      <a:pt x="383735" y="271888"/>
                    </a:moveTo>
                    <a:lnTo>
                      <a:pt x="544695" y="271888"/>
                    </a:lnTo>
                    <a:lnTo>
                      <a:pt x="544695" y="296656"/>
                    </a:lnTo>
                    <a:lnTo>
                      <a:pt x="383735" y="296656"/>
                    </a:lnTo>
                    <a:close/>
                    <a:moveTo>
                      <a:pt x="55676" y="253330"/>
                    </a:moveTo>
                    <a:lnTo>
                      <a:pt x="303360" y="253330"/>
                    </a:lnTo>
                    <a:lnTo>
                      <a:pt x="303360" y="278098"/>
                    </a:lnTo>
                    <a:lnTo>
                      <a:pt x="55676" y="278098"/>
                    </a:lnTo>
                    <a:close/>
                    <a:moveTo>
                      <a:pt x="383735" y="197724"/>
                    </a:moveTo>
                    <a:lnTo>
                      <a:pt x="544695" y="197724"/>
                    </a:lnTo>
                    <a:lnTo>
                      <a:pt x="544695" y="222492"/>
                    </a:lnTo>
                    <a:lnTo>
                      <a:pt x="383735" y="222492"/>
                    </a:lnTo>
                    <a:close/>
                    <a:moveTo>
                      <a:pt x="55676" y="179165"/>
                    </a:moveTo>
                    <a:lnTo>
                      <a:pt x="136191" y="179165"/>
                    </a:lnTo>
                    <a:lnTo>
                      <a:pt x="136191" y="203933"/>
                    </a:lnTo>
                    <a:lnTo>
                      <a:pt x="55676" y="203933"/>
                    </a:lnTo>
                    <a:close/>
                    <a:moveTo>
                      <a:pt x="55676" y="129770"/>
                    </a:moveTo>
                    <a:lnTo>
                      <a:pt x="136191" y="129770"/>
                    </a:lnTo>
                    <a:lnTo>
                      <a:pt x="136191" y="154538"/>
                    </a:lnTo>
                    <a:lnTo>
                      <a:pt x="55676" y="154538"/>
                    </a:lnTo>
                    <a:close/>
                    <a:moveTo>
                      <a:pt x="263040" y="116335"/>
                    </a:moveTo>
                    <a:lnTo>
                      <a:pt x="263040" y="169914"/>
                    </a:lnTo>
                    <a:lnTo>
                      <a:pt x="316707" y="169914"/>
                    </a:lnTo>
                    <a:close/>
                    <a:moveTo>
                      <a:pt x="24791" y="98908"/>
                    </a:moveTo>
                    <a:lnTo>
                      <a:pt x="24791" y="512895"/>
                    </a:lnTo>
                    <a:lnTo>
                      <a:pt x="334255" y="512895"/>
                    </a:lnTo>
                    <a:lnTo>
                      <a:pt x="334255" y="194664"/>
                    </a:lnTo>
                    <a:lnTo>
                      <a:pt x="250691" y="194664"/>
                    </a:lnTo>
                    <a:cubicBezTo>
                      <a:pt x="243820" y="194664"/>
                      <a:pt x="238342" y="189103"/>
                      <a:pt x="238342" y="182336"/>
                    </a:cubicBezTo>
                    <a:lnTo>
                      <a:pt x="238342" y="98908"/>
                    </a:lnTo>
                    <a:close/>
                    <a:moveTo>
                      <a:pt x="482813" y="42177"/>
                    </a:moveTo>
                    <a:lnTo>
                      <a:pt x="482813" y="123565"/>
                    </a:lnTo>
                    <a:lnTo>
                      <a:pt x="564334" y="123565"/>
                    </a:lnTo>
                    <a:close/>
                    <a:moveTo>
                      <a:pt x="148558" y="24750"/>
                    </a:moveTo>
                    <a:lnTo>
                      <a:pt x="148558" y="74158"/>
                    </a:lnTo>
                    <a:lnTo>
                      <a:pt x="250691" y="74158"/>
                    </a:lnTo>
                    <a:cubicBezTo>
                      <a:pt x="253941" y="74158"/>
                      <a:pt x="257098" y="75456"/>
                      <a:pt x="259419" y="77773"/>
                    </a:cubicBezTo>
                    <a:lnTo>
                      <a:pt x="355425" y="173529"/>
                    </a:lnTo>
                    <a:cubicBezTo>
                      <a:pt x="357746" y="175847"/>
                      <a:pt x="359046" y="178999"/>
                      <a:pt x="359046" y="182336"/>
                    </a:cubicBezTo>
                    <a:lnTo>
                      <a:pt x="359046" y="525316"/>
                    </a:lnTo>
                    <a:cubicBezTo>
                      <a:pt x="359046" y="532083"/>
                      <a:pt x="353475" y="537645"/>
                      <a:pt x="346604" y="537645"/>
                    </a:cubicBezTo>
                    <a:lnTo>
                      <a:pt x="148558" y="537645"/>
                    </a:lnTo>
                    <a:lnTo>
                      <a:pt x="148558" y="580935"/>
                    </a:lnTo>
                    <a:lnTo>
                      <a:pt x="581882" y="580935"/>
                    </a:lnTo>
                    <a:lnTo>
                      <a:pt x="581882" y="148316"/>
                    </a:lnTo>
                    <a:lnTo>
                      <a:pt x="470464" y="148316"/>
                    </a:lnTo>
                    <a:cubicBezTo>
                      <a:pt x="463593" y="148316"/>
                      <a:pt x="458022" y="142754"/>
                      <a:pt x="458022" y="135987"/>
                    </a:cubicBezTo>
                    <a:lnTo>
                      <a:pt x="458022" y="24750"/>
                    </a:lnTo>
                    <a:close/>
                    <a:moveTo>
                      <a:pt x="136209" y="0"/>
                    </a:moveTo>
                    <a:lnTo>
                      <a:pt x="470464" y="0"/>
                    </a:lnTo>
                    <a:cubicBezTo>
                      <a:pt x="473621" y="0"/>
                      <a:pt x="476778" y="1298"/>
                      <a:pt x="479192" y="3615"/>
                    </a:cubicBezTo>
                    <a:lnTo>
                      <a:pt x="602959" y="127181"/>
                    </a:lnTo>
                    <a:cubicBezTo>
                      <a:pt x="605373" y="129591"/>
                      <a:pt x="606580" y="132743"/>
                      <a:pt x="606580" y="135987"/>
                    </a:cubicBezTo>
                    <a:lnTo>
                      <a:pt x="606580" y="593263"/>
                    </a:lnTo>
                    <a:cubicBezTo>
                      <a:pt x="606580" y="600123"/>
                      <a:pt x="601102" y="605592"/>
                      <a:pt x="594231" y="605592"/>
                    </a:cubicBezTo>
                    <a:lnTo>
                      <a:pt x="136209" y="605592"/>
                    </a:lnTo>
                    <a:cubicBezTo>
                      <a:pt x="129338" y="605592"/>
                      <a:pt x="123767" y="600123"/>
                      <a:pt x="123767" y="593263"/>
                    </a:cubicBezTo>
                    <a:lnTo>
                      <a:pt x="123767" y="537645"/>
                    </a:lnTo>
                    <a:lnTo>
                      <a:pt x="12349" y="537645"/>
                    </a:lnTo>
                    <a:cubicBezTo>
                      <a:pt x="5571" y="537645"/>
                      <a:pt x="0" y="532083"/>
                      <a:pt x="0" y="525316"/>
                    </a:cubicBezTo>
                    <a:lnTo>
                      <a:pt x="0" y="86487"/>
                    </a:lnTo>
                    <a:cubicBezTo>
                      <a:pt x="0" y="79720"/>
                      <a:pt x="5571" y="74158"/>
                      <a:pt x="12349" y="74158"/>
                    </a:cubicBezTo>
                    <a:lnTo>
                      <a:pt x="123767" y="74158"/>
                    </a:lnTo>
                    <a:lnTo>
                      <a:pt x="123767" y="12329"/>
                    </a:lnTo>
                    <a:cubicBezTo>
                      <a:pt x="123767" y="5562"/>
                      <a:pt x="129338" y="0"/>
                      <a:pt x="13620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350" b="0" i="0" u="none" strike="noStrike" kern="1200" cap="none" spc="0" normalizeH="0" baseline="0" noProof="0">
                  <a:ln>
                    <a:noFill/>
                  </a:ln>
                  <a:solidFill>
                    <a:prstClr val="white"/>
                  </a:solidFill>
                  <a:effectLst/>
                  <a:uLnTx/>
                  <a:uFillTx/>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grpSp>
          <p:nvGrpSpPr>
            <p:cNvPr id="48" name="组合 13"/>
            <p:cNvGrpSpPr/>
            <p:nvPr/>
          </p:nvGrpSpPr>
          <p:grpSpPr>
            <a:xfrm>
              <a:off x="9317583" y="3369809"/>
              <a:ext cx="839108" cy="839108"/>
              <a:chOff x="1979029" y="3369809"/>
              <a:chExt cx="839108" cy="839108"/>
            </a:xfrm>
            <a:grpFill/>
          </p:grpSpPr>
          <p:sp>
            <p:nvSpPr>
              <p:cNvPr id="1048687" name="Shape14"/>
              <p:cNvSpPr/>
              <p:nvPr>
                <p:custDataLst>
                  <p:tags r:id="rId9"/>
                </p:custDataLst>
              </p:nvPr>
            </p:nvSpPr>
            <p:spPr>
              <a:xfrm>
                <a:off x="1979029" y="3369809"/>
                <a:ext cx="839108" cy="839108"/>
              </a:xfrm>
              <a:prstGeom prst="rect">
                <a:avLst/>
              </a:prstGeom>
              <a:solidFill>
                <a:schemeClr val="tx1">
                  <a:lumMod val="95000"/>
                  <a:lumOff val="5000"/>
                  <a:alpha val="62000"/>
                </a:schemeClr>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350" b="0" i="0" u="none" strike="noStrike" kern="1200" cap="none" spc="0" normalizeH="0" baseline="0" noProof="0">
                  <a:ln>
                    <a:noFill/>
                  </a:ln>
                  <a:solidFill>
                    <a:prstClr val="white"/>
                  </a:solidFill>
                  <a:effectLst/>
                  <a:uLnTx/>
                  <a:uFillTx/>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688" name="Shape14"/>
              <p:cNvSpPr/>
              <p:nvPr>
                <p:custDataLst>
                  <p:tags r:id="rId10"/>
                </p:custDataLst>
              </p:nvPr>
            </p:nvSpPr>
            <p:spPr>
              <a:xfrm>
                <a:off x="2153775" y="3528106"/>
                <a:ext cx="489616" cy="522514"/>
              </a:xfrm>
              <a:custGeom>
                <a:avLst/>
                <a:gdLst>
                  <a:gd name="T0" fmla="*/ 1934 w 3867"/>
                  <a:gd name="T1" fmla="*/ 0 h 4133"/>
                  <a:gd name="T2" fmla="*/ 1734 w 3867"/>
                  <a:gd name="T3" fmla="*/ 200 h 4133"/>
                  <a:gd name="T4" fmla="*/ 1734 w 3867"/>
                  <a:gd name="T5" fmla="*/ 400 h 4133"/>
                  <a:gd name="T6" fmla="*/ 467 w 3867"/>
                  <a:gd name="T7" fmla="*/ 400 h 4133"/>
                  <a:gd name="T8" fmla="*/ 200 w 3867"/>
                  <a:gd name="T9" fmla="*/ 400 h 4133"/>
                  <a:gd name="T10" fmla="*/ 0 w 3867"/>
                  <a:gd name="T11" fmla="*/ 600 h 4133"/>
                  <a:gd name="T12" fmla="*/ 200 w 3867"/>
                  <a:gd name="T13" fmla="*/ 800 h 4133"/>
                  <a:gd name="T14" fmla="*/ 267 w 3867"/>
                  <a:gd name="T15" fmla="*/ 800 h 4133"/>
                  <a:gd name="T16" fmla="*/ 267 w 3867"/>
                  <a:gd name="T17" fmla="*/ 2733 h 4133"/>
                  <a:gd name="T18" fmla="*/ 467 w 3867"/>
                  <a:gd name="T19" fmla="*/ 2933 h 4133"/>
                  <a:gd name="T20" fmla="*/ 1734 w 3867"/>
                  <a:gd name="T21" fmla="*/ 2933 h 4133"/>
                  <a:gd name="T22" fmla="*/ 1734 w 3867"/>
                  <a:gd name="T23" fmla="*/ 3733 h 4133"/>
                  <a:gd name="T24" fmla="*/ 1267 w 3867"/>
                  <a:gd name="T25" fmla="*/ 3733 h 4133"/>
                  <a:gd name="T26" fmla="*/ 1067 w 3867"/>
                  <a:gd name="T27" fmla="*/ 3933 h 4133"/>
                  <a:gd name="T28" fmla="*/ 1267 w 3867"/>
                  <a:gd name="T29" fmla="*/ 4133 h 4133"/>
                  <a:gd name="T30" fmla="*/ 2600 w 3867"/>
                  <a:gd name="T31" fmla="*/ 4133 h 4133"/>
                  <a:gd name="T32" fmla="*/ 2800 w 3867"/>
                  <a:gd name="T33" fmla="*/ 3933 h 4133"/>
                  <a:gd name="T34" fmla="*/ 2600 w 3867"/>
                  <a:gd name="T35" fmla="*/ 3733 h 4133"/>
                  <a:gd name="T36" fmla="*/ 2134 w 3867"/>
                  <a:gd name="T37" fmla="*/ 3733 h 4133"/>
                  <a:gd name="T38" fmla="*/ 2134 w 3867"/>
                  <a:gd name="T39" fmla="*/ 2933 h 4133"/>
                  <a:gd name="T40" fmla="*/ 3400 w 3867"/>
                  <a:gd name="T41" fmla="*/ 2933 h 4133"/>
                  <a:gd name="T42" fmla="*/ 3600 w 3867"/>
                  <a:gd name="T43" fmla="*/ 2733 h 4133"/>
                  <a:gd name="T44" fmla="*/ 3600 w 3867"/>
                  <a:gd name="T45" fmla="*/ 800 h 4133"/>
                  <a:gd name="T46" fmla="*/ 3667 w 3867"/>
                  <a:gd name="T47" fmla="*/ 800 h 4133"/>
                  <a:gd name="T48" fmla="*/ 3867 w 3867"/>
                  <a:gd name="T49" fmla="*/ 600 h 4133"/>
                  <a:gd name="T50" fmla="*/ 3667 w 3867"/>
                  <a:gd name="T51" fmla="*/ 400 h 4133"/>
                  <a:gd name="T52" fmla="*/ 3400 w 3867"/>
                  <a:gd name="T53" fmla="*/ 400 h 4133"/>
                  <a:gd name="T54" fmla="*/ 2134 w 3867"/>
                  <a:gd name="T55" fmla="*/ 400 h 4133"/>
                  <a:gd name="T56" fmla="*/ 2134 w 3867"/>
                  <a:gd name="T57" fmla="*/ 200 h 4133"/>
                  <a:gd name="T58" fmla="*/ 1934 w 3867"/>
                  <a:gd name="T59" fmla="*/ 0 h 4133"/>
                  <a:gd name="T60" fmla="*/ 2459 w 3867"/>
                  <a:gd name="T61" fmla="*/ 1125 h 4133"/>
                  <a:gd name="T62" fmla="*/ 2742 w 3867"/>
                  <a:gd name="T63" fmla="*/ 1125 h 4133"/>
                  <a:gd name="T64" fmla="*/ 2742 w 3867"/>
                  <a:gd name="T65" fmla="*/ 1408 h 4133"/>
                  <a:gd name="T66" fmla="*/ 2208 w 3867"/>
                  <a:gd name="T67" fmla="*/ 1941 h 4133"/>
                  <a:gd name="T68" fmla="*/ 1926 w 3867"/>
                  <a:gd name="T69" fmla="*/ 1941 h 4133"/>
                  <a:gd name="T70" fmla="*/ 1800 w 3867"/>
                  <a:gd name="T71" fmla="*/ 1816 h 4133"/>
                  <a:gd name="T72" fmla="*/ 1408 w 3867"/>
                  <a:gd name="T73" fmla="*/ 2208 h 4133"/>
                  <a:gd name="T74" fmla="*/ 1267 w 3867"/>
                  <a:gd name="T75" fmla="*/ 2267 h 4133"/>
                  <a:gd name="T76" fmla="*/ 1126 w 3867"/>
                  <a:gd name="T77" fmla="*/ 2208 h 4133"/>
                  <a:gd name="T78" fmla="*/ 1126 w 3867"/>
                  <a:gd name="T79" fmla="*/ 1925 h 4133"/>
                  <a:gd name="T80" fmla="*/ 1659 w 3867"/>
                  <a:gd name="T81" fmla="*/ 1392 h 4133"/>
                  <a:gd name="T82" fmla="*/ 1942 w 3867"/>
                  <a:gd name="T83" fmla="*/ 1392 h 4133"/>
                  <a:gd name="T84" fmla="*/ 2067 w 3867"/>
                  <a:gd name="T85" fmla="*/ 1517 h 4133"/>
                  <a:gd name="T86" fmla="*/ 2459 w 3867"/>
                  <a:gd name="T87" fmla="*/ 1125 h 4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67" h="4133">
                    <a:moveTo>
                      <a:pt x="1934" y="0"/>
                    </a:moveTo>
                    <a:cubicBezTo>
                      <a:pt x="1823" y="0"/>
                      <a:pt x="1734" y="90"/>
                      <a:pt x="1734" y="200"/>
                    </a:cubicBezTo>
                    <a:lnTo>
                      <a:pt x="1734" y="400"/>
                    </a:lnTo>
                    <a:lnTo>
                      <a:pt x="467" y="400"/>
                    </a:lnTo>
                    <a:lnTo>
                      <a:pt x="200" y="400"/>
                    </a:lnTo>
                    <a:cubicBezTo>
                      <a:pt x="90" y="400"/>
                      <a:pt x="0" y="490"/>
                      <a:pt x="0" y="600"/>
                    </a:cubicBezTo>
                    <a:cubicBezTo>
                      <a:pt x="0" y="710"/>
                      <a:pt x="90" y="800"/>
                      <a:pt x="200" y="800"/>
                    </a:cubicBezTo>
                    <a:lnTo>
                      <a:pt x="267" y="800"/>
                    </a:lnTo>
                    <a:lnTo>
                      <a:pt x="267" y="2733"/>
                    </a:lnTo>
                    <a:cubicBezTo>
                      <a:pt x="267" y="2844"/>
                      <a:pt x="357" y="2933"/>
                      <a:pt x="467" y="2933"/>
                    </a:cubicBezTo>
                    <a:lnTo>
                      <a:pt x="1734" y="2933"/>
                    </a:lnTo>
                    <a:lnTo>
                      <a:pt x="1734" y="3733"/>
                    </a:lnTo>
                    <a:lnTo>
                      <a:pt x="1267" y="3733"/>
                    </a:lnTo>
                    <a:cubicBezTo>
                      <a:pt x="1157" y="3733"/>
                      <a:pt x="1067" y="3823"/>
                      <a:pt x="1067" y="3933"/>
                    </a:cubicBezTo>
                    <a:cubicBezTo>
                      <a:pt x="1067" y="4044"/>
                      <a:pt x="1157" y="4133"/>
                      <a:pt x="1267" y="4133"/>
                    </a:cubicBezTo>
                    <a:lnTo>
                      <a:pt x="2600" y="4133"/>
                    </a:lnTo>
                    <a:cubicBezTo>
                      <a:pt x="2711" y="4133"/>
                      <a:pt x="2800" y="4044"/>
                      <a:pt x="2800" y="3933"/>
                    </a:cubicBezTo>
                    <a:cubicBezTo>
                      <a:pt x="2800" y="3823"/>
                      <a:pt x="2711" y="3733"/>
                      <a:pt x="2600" y="3733"/>
                    </a:cubicBezTo>
                    <a:lnTo>
                      <a:pt x="2134" y="3733"/>
                    </a:lnTo>
                    <a:lnTo>
                      <a:pt x="2134" y="2933"/>
                    </a:lnTo>
                    <a:lnTo>
                      <a:pt x="3400" y="2933"/>
                    </a:lnTo>
                    <a:cubicBezTo>
                      <a:pt x="3511" y="2933"/>
                      <a:pt x="3600" y="2844"/>
                      <a:pt x="3600" y="2733"/>
                    </a:cubicBezTo>
                    <a:lnTo>
                      <a:pt x="3600" y="800"/>
                    </a:lnTo>
                    <a:lnTo>
                      <a:pt x="3667" y="800"/>
                    </a:lnTo>
                    <a:cubicBezTo>
                      <a:pt x="3777" y="800"/>
                      <a:pt x="3867" y="710"/>
                      <a:pt x="3867" y="600"/>
                    </a:cubicBezTo>
                    <a:cubicBezTo>
                      <a:pt x="3867" y="490"/>
                      <a:pt x="3777" y="400"/>
                      <a:pt x="3667" y="400"/>
                    </a:cubicBezTo>
                    <a:lnTo>
                      <a:pt x="3400" y="400"/>
                    </a:lnTo>
                    <a:lnTo>
                      <a:pt x="2134" y="400"/>
                    </a:lnTo>
                    <a:lnTo>
                      <a:pt x="2134" y="200"/>
                    </a:lnTo>
                    <a:cubicBezTo>
                      <a:pt x="2134" y="90"/>
                      <a:pt x="2044" y="0"/>
                      <a:pt x="1934" y="0"/>
                    </a:cubicBezTo>
                    <a:close/>
                    <a:moveTo>
                      <a:pt x="2459" y="1125"/>
                    </a:moveTo>
                    <a:cubicBezTo>
                      <a:pt x="2537" y="1047"/>
                      <a:pt x="2664" y="1047"/>
                      <a:pt x="2742" y="1125"/>
                    </a:cubicBezTo>
                    <a:cubicBezTo>
                      <a:pt x="2820" y="1203"/>
                      <a:pt x="2820" y="1330"/>
                      <a:pt x="2742" y="1408"/>
                    </a:cubicBezTo>
                    <a:lnTo>
                      <a:pt x="2208" y="1941"/>
                    </a:lnTo>
                    <a:cubicBezTo>
                      <a:pt x="2130" y="2020"/>
                      <a:pt x="2004" y="2020"/>
                      <a:pt x="1926" y="1941"/>
                    </a:cubicBezTo>
                    <a:lnTo>
                      <a:pt x="1800" y="1816"/>
                    </a:lnTo>
                    <a:lnTo>
                      <a:pt x="1408" y="2208"/>
                    </a:lnTo>
                    <a:cubicBezTo>
                      <a:pt x="1369" y="2247"/>
                      <a:pt x="1318" y="2267"/>
                      <a:pt x="1267" y="2267"/>
                    </a:cubicBezTo>
                    <a:cubicBezTo>
                      <a:pt x="1216" y="2267"/>
                      <a:pt x="1165" y="2247"/>
                      <a:pt x="1126" y="2208"/>
                    </a:cubicBezTo>
                    <a:cubicBezTo>
                      <a:pt x="1047" y="2130"/>
                      <a:pt x="1047" y="2003"/>
                      <a:pt x="1126" y="1925"/>
                    </a:cubicBezTo>
                    <a:lnTo>
                      <a:pt x="1659" y="1392"/>
                    </a:lnTo>
                    <a:cubicBezTo>
                      <a:pt x="1737" y="1314"/>
                      <a:pt x="1864" y="1314"/>
                      <a:pt x="1942" y="1392"/>
                    </a:cubicBezTo>
                    <a:lnTo>
                      <a:pt x="2067" y="1517"/>
                    </a:lnTo>
                    <a:lnTo>
                      <a:pt x="2459" y="11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350" b="0" i="0" u="none" strike="noStrike" kern="1200" cap="none" spc="0" normalizeH="0" baseline="0" noProof="0">
                  <a:ln>
                    <a:noFill/>
                  </a:ln>
                  <a:solidFill>
                    <a:prstClr val="white"/>
                  </a:solidFill>
                  <a:effectLst/>
                  <a:uLnTx/>
                  <a:uFillTx/>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grpSp>
      <p:sp>
        <p:nvSpPr>
          <p:cNvPr id="2" name="Shape20"/>
          <p:cNvSpPr txBox="1"/>
          <p:nvPr>
            <p:custDataLst>
              <p:tags r:id="rId11"/>
            </p:custDataLst>
          </p:nvPr>
        </p:nvSpPr>
        <p:spPr>
          <a:xfrm>
            <a:off x="5349240" y="4300061"/>
            <a:ext cx="1675924" cy="368300"/>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ctr">
              <a:lnSpc>
                <a:spcPct val="150000"/>
              </a:lnSpc>
            </a:pPr>
            <a:r>
              <a:rPr lang="zh-CN" altLang="en-US" sz="12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全国</a:t>
            </a:r>
            <a:r>
              <a:rPr lang="en-US" altLang="zh-CN" sz="12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 </a:t>
            </a:r>
            <a:r>
              <a:rPr lang="en-US" altLang="zh-CN" sz="1200" b="1" dirty="0">
                <a:solidFill>
                  <a:srgbClr val="C00000"/>
                </a:solidFill>
                <a:latin typeface="微软雅黑" panose="020B0503020204020204" charset="-122"/>
                <a:ea typeface="微软雅黑" panose="020B0503020204020204" charset="-122"/>
                <a:cs typeface="微软雅黑" panose="020B0503020204020204" charset="-122"/>
                <a:sym typeface="+mn-ea"/>
              </a:rPr>
              <a:t>88 </a:t>
            </a:r>
            <a:r>
              <a:rPr lang="zh-CN" altLang="en-US" sz="12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家财险公司</a:t>
            </a:r>
            <a:endParaRPr lang="zh-CN" altLang="en-US" sz="12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5" name="Shape15"/>
          <p:cNvSpPr txBox="1"/>
          <p:nvPr>
            <p:custDataLst>
              <p:tags r:id="rId12"/>
            </p:custDataLst>
          </p:nvPr>
        </p:nvSpPr>
        <p:spPr>
          <a:xfrm>
            <a:off x="-174625" y="2233295"/>
            <a:ext cx="2113915" cy="737235"/>
          </a:xfrm>
          <a:prstGeom prst="rect">
            <a:avLst/>
          </a:prstGeom>
          <a:noFill/>
        </p:spPr>
        <p:txBody>
          <a:bodyPr wrap="square" rtlCol="0">
            <a:spAutoFit/>
          </a:bodyPr>
          <a:p>
            <a:pPr algn="ctr">
              <a:lnSpc>
                <a:spcPct val="150000"/>
              </a:lnSpc>
            </a:pPr>
            <a:r>
              <a:rPr lang="en-US" altLang="zh-CN"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2023</a:t>
            </a:r>
            <a:r>
              <a:rPr lang="zh-CN" altLang="en-US"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年保费规模</a:t>
            </a:r>
            <a:endParaRPr lang="zh-CN" altLang="en-US"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endParaRPr>
          </a:p>
          <a:p>
            <a:pPr algn="ctr">
              <a:lnSpc>
                <a:spcPct val="150000"/>
              </a:lnSpc>
            </a:pPr>
            <a:r>
              <a:rPr lang="en-US" altLang="zh-CN" sz="1400" b="1" dirty="0">
                <a:solidFill>
                  <a:srgbClr val="C00000"/>
                </a:solidFill>
                <a:latin typeface="微软雅黑" panose="020B0503020204020204" charset="-122"/>
                <a:ea typeface="微软雅黑" panose="020B0503020204020204" charset="-122"/>
                <a:cs typeface="微软雅黑" panose="020B0503020204020204" charset="-122"/>
                <a:sym typeface="+mn-ea"/>
              </a:rPr>
              <a:t>70亿</a:t>
            </a:r>
            <a:r>
              <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rPr>
              <a:t>元</a:t>
            </a:r>
            <a:endPar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endParaRPr>
          </a:p>
        </p:txBody>
      </p:sp>
      <p:sp>
        <p:nvSpPr>
          <p:cNvPr id="6" name="Shape17"/>
          <p:cNvSpPr txBox="1"/>
          <p:nvPr>
            <p:custDataLst>
              <p:tags r:id="rId13"/>
            </p:custDataLst>
          </p:nvPr>
        </p:nvSpPr>
        <p:spPr>
          <a:xfrm>
            <a:off x="2976245" y="2233295"/>
            <a:ext cx="2160270" cy="1383665"/>
          </a:xfrm>
          <a:prstGeom prst="rect">
            <a:avLst/>
          </a:prstGeom>
          <a:noFill/>
        </p:spPr>
        <p:txBody>
          <a:bodyPr wrap="square" rtlCol="0">
            <a:spAutoFit/>
          </a:bodyPr>
          <a:p>
            <a:pPr algn="ctr">
              <a:lnSpc>
                <a:spcPct val="150000"/>
              </a:lnSpc>
            </a:pPr>
            <a:r>
              <a:rPr lang="zh-CN" altLang="en-US"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目前唯一一家</a:t>
            </a:r>
            <a:endParaRPr lang="zh-CN" altLang="en-US"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endParaRPr>
          </a:p>
          <a:p>
            <a:pPr algn="ctr">
              <a:lnSpc>
                <a:spcPct val="150000"/>
              </a:lnSpc>
            </a:pPr>
            <a:r>
              <a:rPr lang="en-US" altLang="zh-CN" sz="1400" b="1" dirty="0">
                <a:solidFill>
                  <a:srgbClr val="C00000"/>
                </a:solidFill>
                <a:latin typeface="微软雅黑" panose="020B0503020204020204" charset="-122"/>
                <a:ea typeface="微软雅黑" panose="020B0503020204020204" charset="-122"/>
                <a:cs typeface="微软雅黑" panose="020B0503020204020204" charset="-122"/>
                <a:sym typeface="+mn-ea"/>
              </a:rPr>
              <a:t>“</a:t>
            </a:r>
            <a:r>
              <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rPr>
              <a:t>保险</a:t>
            </a:r>
            <a:r>
              <a:rPr lang="en-US" altLang="zh-CN" sz="1400" b="1" dirty="0">
                <a:solidFill>
                  <a:srgbClr val="C00000"/>
                </a:solidFill>
                <a:latin typeface="微软雅黑" panose="020B0503020204020204" charset="-122"/>
                <a:ea typeface="微软雅黑" panose="020B0503020204020204" charset="-122"/>
                <a:cs typeface="微软雅黑" panose="020B0503020204020204" charset="-122"/>
                <a:sym typeface="+mn-ea"/>
              </a:rPr>
              <a:t>+</a:t>
            </a:r>
            <a:r>
              <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rPr>
              <a:t>能源</a:t>
            </a:r>
            <a:r>
              <a:rPr lang="en-US" altLang="zh-CN" sz="1400" b="1" dirty="0">
                <a:solidFill>
                  <a:srgbClr val="C00000"/>
                </a:solidFill>
                <a:latin typeface="微软雅黑" panose="020B0503020204020204" charset="-122"/>
                <a:ea typeface="微软雅黑" panose="020B0503020204020204" charset="-122"/>
                <a:cs typeface="微软雅黑" panose="020B0503020204020204" charset="-122"/>
                <a:sym typeface="+mn-ea"/>
              </a:rPr>
              <a:t>+</a:t>
            </a:r>
            <a:r>
              <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rPr>
              <a:t>安全</a:t>
            </a:r>
            <a:endPar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endParaRPr>
          </a:p>
          <a:p>
            <a:pPr algn="ctr">
              <a:lnSpc>
                <a:spcPct val="150000"/>
              </a:lnSpc>
            </a:pPr>
            <a:r>
              <a:rPr lang="en-US" altLang="zh-CN" sz="1400" b="1" dirty="0">
                <a:solidFill>
                  <a:srgbClr val="C00000"/>
                </a:solidFill>
                <a:latin typeface="微软雅黑" panose="020B0503020204020204" charset="-122"/>
                <a:ea typeface="微软雅黑" panose="020B0503020204020204" charset="-122"/>
                <a:cs typeface="微软雅黑" panose="020B0503020204020204" charset="-122"/>
                <a:sym typeface="+mn-ea"/>
              </a:rPr>
              <a:t>+</a:t>
            </a:r>
            <a:r>
              <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rPr>
              <a:t>科技</a:t>
            </a:r>
            <a:r>
              <a:rPr lang="en-US" altLang="zh-CN" sz="1400" b="1" dirty="0">
                <a:solidFill>
                  <a:srgbClr val="C00000"/>
                </a:solidFill>
                <a:latin typeface="微软雅黑" panose="020B0503020204020204" charset="-122"/>
                <a:ea typeface="微软雅黑" panose="020B0503020204020204" charset="-122"/>
                <a:cs typeface="微软雅黑" panose="020B0503020204020204" charset="-122"/>
                <a:sym typeface="+mn-ea"/>
              </a:rPr>
              <a:t>”</a:t>
            </a:r>
            <a:r>
              <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rPr>
              <a:t>的差异化、</a:t>
            </a:r>
            <a:endPar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endParaRPr>
          </a:p>
          <a:p>
            <a:pPr algn="ctr">
              <a:lnSpc>
                <a:spcPct val="150000"/>
              </a:lnSpc>
            </a:pPr>
            <a:r>
              <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rPr>
              <a:t>专业化保险公司</a:t>
            </a:r>
            <a:endPar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endParaRPr>
          </a:p>
        </p:txBody>
      </p:sp>
      <p:sp>
        <p:nvSpPr>
          <p:cNvPr id="7" name="Shape19"/>
          <p:cNvSpPr txBox="1"/>
          <p:nvPr>
            <p:custDataLst>
              <p:tags r:id="rId14"/>
            </p:custDataLst>
          </p:nvPr>
        </p:nvSpPr>
        <p:spPr>
          <a:xfrm>
            <a:off x="1425575" y="2242820"/>
            <a:ext cx="2115185" cy="737235"/>
          </a:xfrm>
          <a:prstGeom prst="rect">
            <a:avLst/>
          </a:prstGeom>
          <a:noFill/>
        </p:spPr>
        <p:txBody>
          <a:bodyPr wrap="square" rtlCol="0">
            <a:spAutoFit/>
          </a:bodyPr>
          <a:p>
            <a:pPr algn="ctr">
              <a:lnSpc>
                <a:spcPct val="150000"/>
              </a:lnSpc>
            </a:pPr>
            <a:r>
              <a:rPr lang="en-US" altLang="zh-CN"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2023</a:t>
            </a:r>
            <a:r>
              <a:rPr lang="zh-CN" altLang="en-US"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年</a:t>
            </a:r>
            <a:r>
              <a:rPr lang="en-US" altLang="zh-CN"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盈利能力</a:t>
            </a:r>
            <a:endParaRPr lang="en-US" altLang="zh-CN"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endParaRPr>
          </a:p>
          <a:p>
            <a:pPr algn="ctr">
              <a:lnSpc>
                <a:spcPct val="150000"/>
              </a:lnSpc>
            </a:pPr>
            <a:r>
              <a:rPr lang="en-US" altLang="zh-CN" sz="1400" b="1" dirty="0">
                <a:solidFill>
                  <a:srgbClr val="C00000"/>
                </a:solidFill>
                <a:latin typeface="微软雅黑" panose="020B0503020204020204" charset="-122"/>
                <a:ea typeface="微软雅黑" panose="020B0503020204020204" charset="-122"/>
                <a:cs typeface="微软雅黑" panose="020B0503020204020204" charset="-122"/>
                <a:sym typeface="+mn-ea"/>
              </a:rPr>
              <a:t>16亿</a:t>
            </a:r>
            <a:r>
              <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rPr>
              <a:t>元</a:t>
            </a:r>
            <a:endPar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endParaRPr>
          </a:p>
        </p:txBody>
      </p:sp>
      <p:sp>
        <p:nvSpPr>
          <p:cNvPr id="8" name="Shape21"/>
          <p:cNvSpPr txBox="1"/>
          <p:nvPr>
            <p:custDataLst>
              <p:tags r:id="rId15"/>
            </p:custDataLst>
          </p:nvPr>
        </p:nvSpPr>
        <p:spPr>
          <a:xfrm>
            <a:off x="4516120" y="2244090"/>
            <a:ext cx="2226945" cy="1060450"/>
          </a:xfrm>
          <a:prstGeom prst="rect">
            <a:avLst/>
          </a:prstGeom>
          <a:noFill/>
        </p:spPr>
        <p:txBody>
          <a:bodyPr wrap="square" rtlCol="0">
            <a:spAutoFit/>
          </a:bodyPr>
          <a:p>
            <a:pPr algn="ctr">
              <a:lnSpc>
                <a:spcPct val="150000"/>
              </a:lnSpc>
            </a:pPr>
            <a:r>
              <a:rPr lang="zh-CN" altLang="en-US"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鼎和保险2022年</a:t>
            </a:r>
            <a:endParaRPr lang="zh-CN" altLang="en-US"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endParaRPr>
          </a:p>
          <a:p>
            <a:pPr algn="ctr">
              <a:lnSpc>
                <a:spcPct val="150000"/>
              </a:lnSpc>
            </a:pPr>
            <a:r>
              <a:rPr lang="zh-CN" altLang="en-US"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引入战略投资股东</a:t>
            </a:r>
            <a:endParaRPr lang="zh-CN" altLang="en-US" sz="14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endParaRPr>
          </a:p>
          <a:p>
            <a:pPr algn="ctr">
              <a:lnSpc>
                <a:spcPct val="150000"/>
              </a:lnSpc>
            </a:pPr>
            <a:r>
              <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rPr>
              <a:t>融资合计</a:t>
            </a:r>
            <a:r>
              <a:rPr lang="en-US" altLang="zh-CN" sz="1400" b="1" dirty="0">
                <a:solidFill>
                  <a:srgbClr val="C00000"/>
                </a:solidFill>
                <a:latin typeface="微软雅黑" panose="020B0503020204020204" charset="-122"/>
                <a:ea typeface="微软雅黑" panose="020B0503020204020204" charset="-122"/>
                <a:cs typeface="微软雅黑" panose="020B0503020204020204" charset="-122"/>
                <a:sym typeface="+mn-ea"/>
              </a:rPr>
              <a:t>64.5</a:t>
            </a:r>
            <a:r>
              <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rPr>
              <a:t>亿元</a:t>
            </a:r>
            <a:endParaRPr lang="zh-CN" altLang="en-US" sz="1400" b="1" dirty="0">
              <a:solidFill>
                <a:srgbClr val="C00000"/>
              </a:solidFill>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timing>
    <p:tnLst>
      <p:par>
        <p:cTn id="1" dur="indefinite" restart="never" nodeType="tmRoot"/>
      </p:par>
    </p:tnLst>
    <p:bldLst>
      <p:bldP spid="1048673" grpId="0" bldLvl="0" animBg="1"/>
      <p:bldP spid="1048675" grpId="0" bldLvl="0" animBg="1"/>
      <p:bldP spid="1048677" grpId="0" bldLvl="0" animBg="1"/>
      <p:bldP spid="1048679" grpId="0" bldLvl="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14" name="Shape1"/>
          <p:cNvSpPr/>
          <p:nvPr/>
        </p:nvSpPr>
        <p:spPr>
          <a:xfrm rot="17882113" flipH="1">
            <a:off x="-1914221" y="661306"/>
            <a:ext cx="5348278" cy="3704140"/>
          </a:xfrm>
          <a:custGeom>
            <a:avLst/>
            <a:gdLst>
              <a:gd name="connsiteX0" fmla="*/ 1083810 w 7131037"/>
              <a:gd name="connsiteY0" fmla="*/ 0 h 4938853"/>
              <a:gd name="connsiteX1" fmla="*/ 0 w 7131037"/>
              <a:gd name="connsiteY1" fmla="*/ 2035332 h 4938853"/>
              <a:gd name="connsiteX2" fmla="*/ 100465 w 7131037"/>
              <a:gd name="connsiteY2" fmla="*/ 2136288 h 4938853"/>
              <a:gd name="connsiteX3" fmla="*/ 654764 w 7131037"/>
              <a:gd name="connsiteY3" fmla="*/ 2506857 h 4938853"/>
              <a:gd name="connsiteX4" fmla="*/ 3360401 w 7131037"/>
              <a:gd name="connsiteY4" fmla="*/ 2563592 h 4938853"/>
              <a:gd name="connsiteX5" fmla="*/ 5283416 w 7131037"/>
              <a:gd name="connsiteY5" fmla="*/ 4738430 h 4938853"/>
              <a:gd name="connsiteX6" fmla="*/ 6032094 w 7131037"/>
              <a:gd name="connsiteY6" fmla="*/ 4913222 h 4938853"/>
              <a:gd name="connsiteX7" fmla="*/ 6215824 w 7131037"/>
              <a:gd name="connsiteY7" fmla="*/ 4938853 h 4938853"/>
              <a:gd name="connsiteX8" fmla="*/ 7131037 w 7131037"/>
              <a:gd name="connsiteY8" fmla="*/ 3220137 h 4938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1037" h="4938853">
                <a:moveTo>
                  <a:pt x="1083810" y="0"/>
                </a:moveTo>
                <a:lnTo>
                  <a:pt x="0" y="2035332"/>
                </a:lnTo>
                <a:lnTo>
                  <a:pt x="100465" y="2136288"/>
                </a:lnTo>
                <a:cubicBezTo>
                  <a:pt x="261170" y="2287443"/>
                  <a:pt x="444574" y="2417973"/>
                  <a:pt x="654764" y="2506857"/>
                </a:cubicBezTo>
                <a:cubicBezTo>
                  <a:pt x="1495524" y="2862396"/>
                  <a:pt x="2434671" y="2117278"/>
                  <a:pt x="3360401" y="2563592"/>
                </a:cubicBezTo>
                <a:cubicBezTo>
                  <a:pt x="4286132" y="3009907"/>
                  <a:pt x="4120663" y="4356415"/>
                  <a:pt x="5283416" y="4738430"/>
                </a:cubicBezTo>
                <a:cubicBezTo>
                  <a:pt x="5501433" y="4810058"/>
                  <a:pt x="5757183" y="4869053"/>
                  <a:pt x="6032094" y="4913222"/>
                </a:cubicBezTo>
                <a:lnTo>
                  <a:pt x="6215824" y="4938853"/>
                </a:lnTo>
                <a:lnTo>
                  <a:pt x="7131037" y="322013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15" name="Shape2"/>
          <p:cNvSpPr/>
          <p:nvPr/>
        </p:nvSpPr>
        <p:spPr>
          <a:xfrm>
            <a:off x="2211422" y="1591535"/>
            <a:ext cx="1960433" cy="1960431"/>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a:latin typeface="汉仪旗黑X1-55W" panose="00020600040101010101" pitchFamily="18" charset="-122"/>
              <a:ea typeface="汉仪旗黑X1-55W" panose="00020600040101010101" pitchFamily="18" charset="-122"/>
              <a:cs typeface="汉仪润圆-65简" panose="00020600040101010101" pitchFamily="18" charset="-122"/>
              <a:sym typeface="汉仪旗黑X1-55W" panose="00020600040101010101" pitchFamily="18" charset="-122"/>
            </a:endParaRPr>
          </a:p>
        </p:txBody>
      </p:sp>
      <p:sp>
        <p:nvSpPr>
          <p:cNvPr id="1048716" name="Shape3"/>
          <p:cNvSpPr/>
          <p:nvPr/>
        </p:nvSpPr>
        <p:spPr>
          <a:xfrm>
            <a:off x="2357732" y="1759300"/>
            <a:ext cx="1667813" cy="1667813"/>
          </a:xfrm>
          <a:prstGeom prst="ellipse">
            <a:avLst/>
          </a:prstGeom>
          <a:solidFill>
            <a:schemeClr val="accent1"/>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90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17" name="Shape4"/>
          <p:cNvSpPr txBox="1"/>
          <p:nvPr/>
        </p:nvSpPr>
        <p:spPr>
          <a:xfrm>
            <a:off x="2715010" y="2190875"/>
            <a:ext cx="953255" cy="783590"/>
          </a:xfrm>
          <a:prstGeom prst="rect">
            <a:avLst/>
          </a:prstGeom>
          <a:noFill/>
        </p:spPr>
        <p:txBody>
          <a:bodyPr wrap="square" rtlCol="0">
            <a:spAutoFit/>
          </a:bodyPr>
          <a:lstStyle/>
          <a:p>
            <a:pPr algn="ctr"/>
            <a:r>
              <a:rPr lang="en-US" altLang="zh-CN" sz="4500" b="1" dirty="0">
                <a:solidFill>
                  <a:schemeClr val="bg1"/>
                </a:solidFill>
                <a:latin typeface="汉仪旗黑X1-95W" panose="00020600040101010101" pitchFamily="18" charset="-122"/>
                <a:ea typeface="汉仪旗黑X1-95W" panose="00020600040101010101" pitchFamily="18" charset="-122"/>
                <a:sym typeface="汉仪旗黑X1-55W" panose="00020600040101010101" pitchFamily="18" charset="-122"/>
              </a:rPr>
              <a:t>03</a:t>
            </a:r>
            <a:endParaRPr lang="zh-CN" altLang="en-US" sz="4500" b="1" dirty="0">
              <a:solidFill>
                <a:schemeClr val="bg1"/>
              </a:solidFill>
              <a:latin typeface="汉仪旗黑X1-95W" panose="00020600040101010101" pitchFamily="18" charset="-122"/>
              <a:ea typeface="汉仪旗黑X1-95W" panose="00020600040101010101" pitchFamily="18" charset="-122"/>
              <a:sym typeface="汉仪旗黑X1-55W" panose="00020600040101010101" pitchFamily="18" charset="-122"/>
            </a:endParaRPr>
          </a:p>
        </p:txBody>
      </p:sp>
      <p:sp>
        <p:nvSpPr>
          <p:cNvPr id="1048718" name="Shape5"/>
          <p:cNvSpPr txBox="1"/>
          <p:nvPr/>
        </p:nvSpPr>
        <p:spPr>
          <a:xfrm>
            <a:off x="4622113" y="1599363"/>
            <a:ext cx="2281372" cy="460375"/>
          </a:xfrm>
          <a:prstGeom prst="rect">
            <a:avLst/>
          </a:prstGeom>
          <a:noFill/>
        </p:spPr>
        <p:txBody>
          <a:bodyPr wrap="square" rtlCol="0">
            <a:spAutoFit/>
            <a:scene3d>
              <a:camera prst="orthographicFront"/>
              <a:lightRig rig="threePt" dir="t"/>
            </a:scene3d>
            <a:sp3d contourW="12700"/>
          </a:bodyPr>
          <a:lstStyle/>
          <a:p>
            <a:r>
              <a:rPr lang="zh-CN" altLang="en-US" sz="2400" b="1">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保险方案</a:t>
            </a:r>
            <a:endParaRPr lang="zh-CN" altLang="en-US" sz="2400" b="1" dirty="0">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19" name="Shape6"/>
          <p:cNvSpPr/>
          <p:nvPr/>
        </p:nvSpPr>
        <p:spPr>
          <a:xfrm>
            <a:off x="4622006" y="2019776"/>
            <a:ext cx="3498533" cy="575945"/>
          </a:xfrm>
          <a:prstGeom prst="rect">
            <a:avLst/>
          </a:prstGeom>
        </p:spPr>
        <p:txBody>
          <a:bodyPr wrap="square">
            <a:spAutoFit/>
          </a:bodyPr>
          <a:lstStyle/>
          <a:p>
            <a:pPr>
              <a:lnSpc>
                <a:spcPct val="150000"/>
              </a:lnSpc>
            </a:pPr>
            <a:r>
              <a:rPr lang="en-US" altLang="zh-CN" sz="1050"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rPr>
              <a:t>特种设备第三者责任保险</a:t>
            </a:r>
            <a:endParaRPr lang="en-US" altLang="zh-CN" sz="1050"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endParaRPr>
          </a:p>
          <a:p>
            <a:pPr>
              <a:lnSpc>
                <a:spcPct val="150000"/>
              </a:lnSpc>
            </a:pPr>
            <a:endParaRPr lang="en-US" altLang="zh-CN" sz="1050"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endParaRPr>
          </a:p>
        </p:txBody>
      </p:sp>
      <p:sp>
        <p:nvSpPr>
          <p:cNvPr id="1048628" name="Shape7"/>
          <p:cNvSpPr txBox="1"/>
          <p:nvPr/>
        </p:nvSpPr>
        <p:spPr>
          <a:xfrm>
            <a:off x="4641562" y="2416932"/>
            <a:ext cx="3195052" cy="995045"/>
          </a:xfrm>
          <a:prstGeom prst="rect">
            <a:avLst/>
          </a:prstGeom>
        </p:spPr>
        <p:txBody>
          <a:bodyPr wrap="square">
            <a:spAutoFit/>
          </a:bodyPr>
          <a:lstStyle>
            <a:defPPr>
              <a:defRPr lang="zh-CN"/>
            </a:defPPr>
            <a:lvl1pPr defTabSz="457200">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marL="171450" indent="-171450">
              <a:lnSpc>
                <a:spcPct val="200000"/>
              </a:lnSpc>
              <a:buFont typeface="Wingdings" panose="05000000000000000000" charset="0"/>
              <a:buChar char="u"/>
            </a:pPr>
            <a:r>
              <a:rPr lang="en-US" altLang="zh-CN" sz="975" b="1" dirty="0">
                <a:solidFill>
                  <a:prstClr val="black"/>
                </a:solidFill>
                <a:latin typeface="微软雅黑" panose="020B0503020204020204" charset="-122"/>
                <a:ea typeface="微软雅黑" panose="020B0503020204020204" charset="-122"/>
                <a:sym typeface="+mn-ea"/>
              </a:rPr>
              <a:t>  </a:t>
            </a:r>
            <a:r>
              <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rPr>
              <a:t>保险方案</a:t>
            </a:r>
            <a:endPar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endParaRPr>
          </a:p>
          <a:p>
            <a:pPr marL="171450" indent="-171450">
              <a:lnSpc>
                <a:spcPct val="200000"/>
              </a:lnSpc>
              <a:buFont typeface="Wingdings" panose="05000000000000000000" charset="0"/>
              <a:buChar char="u"/>
            </a:pPr>
            <a:r>
              <a:rPr lang="en-US" altLang="zh-CN" sz="975" b="1">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 </a:t>
            </a:r>
            <a:r>
              <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保险责任</a:t>
            </a:r>
            <a:endPar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endParaRPr>
          </a:p>
          <a:p>
            <a:pPr marL="171450" indent="-171450" algn="l">
              <a:lnSpc>
                <a:spcPct val="200000"/>
              </a:lnSpc>
              <a:buClrTx/>
              <a:buSzTx/>
              <a:buFont typeface="Wingdings" panose="05000000000000000000" charset="0"/>
              <a:buChar char="u"/>
            </a:pPr>
            <a:r>
              <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 责任免除</a:t>
            </a:r>
            <a:endPar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endParaRPr>
          </a:p>
        </p:txBody>
      </p:sp>
    </p:spTree>
  </p:cSld>
  <p:clrMapOvr>
    <a:masterClrMapping/>
  </p:clrMapOvr>
  <p:timing>
    <p:tnLst>
      <p:par>
        <p:cTn id="1" dur="indefinite" restart="never" nodeType="tmRoot"/>
      </p:par>
    </p:tnLst>
    <p:bldLst>
      <p:bldP spid="1048719" grpId="0"/>
      <p:bldP spid="104862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57" name="Shape3"/>
          <p:cNvSpPr/>
          <p:nvPr/>
        </p:nvSpPr>
        <p:spPr>
          <a:xfrm>
            <a:off x="8635776" y="4869500"/>
            <a:ext cx="119063" cy="11906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
              <a:solidFill>
                <a:schemeClr val="tx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grpSp>
        <p:nvGrpSpPr>
          <p:cNvPr id="58" name="Shape4"/>
          <p:cNvGrpSpPr/>
          <p:nvPr/>
        </p:nvGrpSpPr>
        <p:grpSpPr>
          <a:xfrm>
            <a:off x="299618" y="412859"/>
            <a:ext cx="824633" cy="144001"/>
            <a:chOff x="7922707" y="4563003"/>
            <a:chExt cx="824632" cy="144000"/>
          </a:xfrm>
        </p:grpSpPr>
        <p:sp>
          <p:nvSpPr>
            <p:cNvPr id="1048758"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59"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60"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42"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43"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761" name="Shape5"/>
          <p:cNvSpPr txBox="1"/>
          <p:nvPr/>
        </p:nvSpPr>
        <p:spPr>
          <a:xfrm>
            <a:off x="1150409" y="346360"/>
            <a:ext cx="1652954"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保险方案</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sp>
        <p:nvSpPr>
          <p:cNvPr id="1048762" name="Shape6"/>
          <p:cNvSpPr/>
          <p:nvPr/>
        </p:nvSpPr>
        <p:spPr>
          <a:xfrm>
            <a:off x="541061" y="1608180"/>
            <a:ext cx="2306999" cy="2316877"/>
          </a:xfrm>
          <a:custGeom>
            <a:avLst/>
            <a:gdLst>
              <a:gd name="connsiteX0" fmla="*/ 1538000 w 3075998"/>
              <a:gd name="connsiteY0" fmla="*/ 0 h 3089169"/>
              <a:gd name="connsiteX1" fmla="*/ 3075998 w 3075998"/>
              <a:gd name="connsiteY1" fmla="*/ 1544584 h 3089169"/>
              <a:gd name="connsiteX2" fmla="*/ 1538000 w 3075998"/>
              <a:gd name="connsiteY2" fmla="*/ 3089169 h 3089169"/>
              <a:gd name="connsiteX3" fmla="*/ 0 w 3075998"/>
              <a:gd name="connsiteY3" fmla="*/ 1544584 h 3089169"/>
              <a:gd name="connsiteX4" fmla="*/ 1538000 w 3075998"/>
              <a:gd name="connsiteY4" fmla="*/ 0 h 3089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5998" h="3089169">
                <a:moveTo>
                  <a:pt x="1538000" y="0"/>
                </a:moveTo>
                <a:cubicBezTo>
                  <a:pt x="2387412" y="0"/>
                  <a:pt x="3075998" y="691534"/>
                  <a:pt x="3075998" y="1544584"/>
                </a:cubicBezTo>
                <a:cubicBezTo>
                  <a:pt x="3075998" y="2397634"/>
                  <a:pt x="2387412" y="3089169"/>
                  <a:pt x="1538000" y="3089169"/>
                </a:cubicBezTo>
                <a:cubicBezTo>
                  <a:pt x="688586" y="3089169"/>
                  <a:pt x="0" y="2397634"/>
                  <a:pt x="0" y="1544584"/>
                </a:cubicBezTo>
                <a:cubicBezTo>
                  <a:pt x="0" y="691534"/>
                  <a:pt x="688586" y="0"/>
                  <a:pt x="1538000" y="0"/>
                </a:cubicBezTo>
                <a:close/>
              </a:path>
            </a:pathLst>
          </a:cu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pic>
        <p:nvPicPr>
          <p:cNvPr id="100" name="图片 99" descr="D:\360data\重要数据\桌面\文字文稿1_01.png文字文稿1_01"/>
          <p:cNvPicPr/>
          <p:nvPr/>
        </p:nvPicPr>
        <p:blipFill>
          <a:blip r:embed="rId1"/>
          <a:srcRect t="9063" b="9063"/>
          <a:stretch>
            <a:fillRect/>
          </a:stretch>
        </p:blipFill>
        <p:spPr>
          <a:xfrm>
            <a:off x="2384584" y="1827848"/>
            <a:ext cx="6639878" cy="2924651"/>
          </a:xfrm>
          <a:prstGeom prst="rect">
            <a:avLst/>
          </a:prstGeom>
          <a:noFill/>
          <a:ln w="9525">
            <a:noFill/>
          </a:ln>
        </p:spPr>
      </p:pic>
      <p:sp>
        <p:nvSpPr>
          <p:cNvPr id="1048813" name="Shape6"/>
          <p:cNvSpPr/>
          <p:nvPr/>
        </p:nvSpPr>
        <p:spPr>
          <a:xfrm>
            <a:off x="2649855" y="949166"/>
            <a:ext cx="1734503" cy="199549"/>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r>
              <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rPr>
              <a:t>投、被保险人</a:t>
            </a:r>
            <a:endPar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14" name="Shape6"/>
          <p:cNvSpPr/>
          <p:nvPr/>
        </p:nvSpPr>
        <p:spPr>
          <a:xfrm>
            <a:off x="3331369" y="1608296"/>
            <a:ext cx="1377315" cy="199549"/>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r>
              <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rPr>
              <a:t>保险期限</a:t>
            </a:r>
            <a:endPar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97" name="Shape11"/>
          <p:cNvSpPr txBox="1"/>
          <p:nvPr>
            <p:custDataLst>
              <p:tags r:id="rId2"/>
            </p:custDataLst>
          </p:nvPr>
        </p:nvSpPr>
        <p:spPr>
          <a:xfrm>
            <a:off x="4495800" y="872490"/>
            <a:ext cx="3555206" cy="333375"/>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l">
              <a:lnSpc>
                <a:spcPct val="150000"/>
              </a:lnSpc>
            </a:pPr>
            <a:r>
              <a:rPr lang="zh-CN" altLang="en-US" sz="1050"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液化气储配站</a:t>
            </a:r>
            <a:endParaRPr lang="zh-CN" altLang="en-US" sz="1050"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5" name="Shape11"/>
          <p:cNvSpPr txBox="1"/>
          <p:nvPr>
            <p:custDataLst>
              <p:tags r:id="rId3"/>
            </p:custDataLst>
          </p:nvPr>
        </p:nvSpPr>
        <p:spPr>
          <a:xfrm>
            <a:off x="4781550" y="1291590"/>
            <a:ext cx="3854768" cy="818515"/>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marL="171450" indent="-171450" algn="l">
              <a:lnSpc>
                <a:spcPct val="150000"/>
              </a:lnSpc>
              <a:buFont typeface="Wingdings" panose="05000000000000000000" charset="0"/>
              <a:buChar char="Ø"/>
            </a:pPr>
            <a:r>
              <a:rPr lang="zh-CN" altLang="en-US" sz="1050"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前期出具短期保单三个月；</a:t>
            </a:r>
            <a:endParaRPr lang="zh-CN" altLang="en-US" sz="1050"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a:p>
            <a:pPr marL="171450" indent="-171450" algn="l">
              <a:lnSpc>
                <a:spcPct val="150000"/>
              </a:lnSpc>
              <a:buFont typeface="Wingdings" panose="05000000000000000000" charset="0"/>
              <a:buChar char="Ø"/>
            </a:pPr>
            <a:r>
              <a:rPr lang="zh-CN" altLang="en-US" sz="1050"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采取“一充一保”模式，系统完成对接后，保险责任从每只燃气气瓶充装时起，到下次充装时止，</a:t>
            </a:r>
            <a:r>
              <a:rPr lang="zh-CN" altLang="en-US" sz="1050" dirty="0">
                <a:latin typeface="汉仪旗黑X1-55W" panose="00020600040101010101" pitchFamily="18" charset="-122"/>
                <a:ea typeface="汉仪旗黑X1-55W" panose="00020600040101010101" pitchFamily="18" charset="-122"/>
                <a:sym typeface="汉仪旗黑X1-55W" panose="00020600040101010101" pitchFamily="18" charset="-122"/>
              </a:rPr>
              <a:t>最长不超过3个月</a:t>
            </a:r>
            <a:r>
              <a:rPr lang="zh-CN" altLang="en-US" sz="1050"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a:t>
            </a:r>
            <a:endParaRPr lang="zh-CN" altLang="en-US" sz="1050"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2" name="Shape6"/>
          <p:cNvSpPr/>
          <p:nvPr/>
        </p:nvSpPr>
        <p:spPr>
          <a:xfrm>
            <a:off x="592972" y="1608180"/>
            <a:ext cx="2306999" cy="2316877"/>
          </a:xfrm>
          <a:custGeom>
            <a:avLst/>
            <a:gdLst>
              <a:gd name="connsiteX0" fmla="*/ 1538000 w 3075998"/>
              <a:gd name="connsiteY0" fmla="*/ 0 h 3089169"/>
              <a:gd name="connsiteX1" fmla="*/ 3075998 w 3075998"/>
              <a:gd name="connsiteY1" fmla="*/ 1544584 h 3089169"/>
              <a:gd name="connsiteX2" fmla="*/ 1538000 w 3075998"/>
              <a:gd name="connsiteY2" fmla="*/ 3089169 h 3089169"/>
              <a:gd name="connsiteX3" fmla="*/ 0 w 3075998"/>
              <a:gd name="connsiteY3" fmla="*/ 1544584 h 3089169"/>
              <a:gd name="connsiteX4" fmla="*/ 1538000 w 3075998"/>
              <a:gd name="connsiteY4" fmla="*/ 0 h 3089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5998" h="3089169">
                <a:moveTo>
                  <a:pt x="1538000" y="0"/>
                </a:moveTo>
                <a:cubicBezTo>
                  <a:pt x="2387412" y="0"/>
                  <a:pt x="3075998" y="691534"/>
                  <a:pt x="3075998" y="1544584"/>
                </a:cubicBezTo>
                <a:cubicBezTo>
                  <a:pt x="3075998" y="2397634"/>
                  <a:pt x="2387412" y="3089169"/>
                  <a:pt x="1538000" y="3089169"/>
                </a:cubicBezTo>
                <a:cubicBezTo>
                  <a:pt x="688586" y="3089169"/>
                  <a:pt x="0" y="2397634"/>
                  <a:pt x="0" y="1544584"/>
                </a:cubicBezTo>
                <a:cubicBezTo>
                  <a:pt x="0" y="691534"/>
                  <a:pt x="688586" y="0"/>
                  <a:pt x="1538000" y="0"/>
                </a:cubicBezTo>
                <a:close/>
              </a:path>
            </a:pathLst>
          </a:custGeom>
          <a:blipFill rotWithShape="1">
            <a:blip r:embed="rId4"/>
            <a:srcRect/>
            <a:stretch>
              <a:fillRect t="-24830" b="-24830"/>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3" name="文本框 2"/>
          <p:cNvSpPr txBox="1"/>
          <p:nvPr/>
        </p:nvSpPr>
        <p:spPr>
          <a:xfrm>
            <a:off x="734060" y="4547870"/>
            <a:ext cx="6442710" cy="553085"/>
          </a:xfrm>
          <a:prstGeom prst="rect">
            <a:avLst/>
          </a:prstGeom>
          <a:noFill/>
        </p:spPr>
        <p:txBody>
          <a:bodyPr wrap="square" rtlCol="0" anchor="t">
            <a:spAutoFit/>
          </a:bodyPr>
          <a:lstStyle/>
          <a:p>
            <a:pPr algn="l">
              <a:lnSpc>
                <a:spcPct val="150000"/>
              </a:lnSpc>
            </a:pPr>
            <a:r>
              <a:rPr lang="zh-CN" altLang="en-US" sz="1000" b="1">
                <a:solidFill>
                  <a:schemeClr val="accent1"/>
                </a:solidFill>
                <a:latin typeface="微软雅黑" panose="020B0503020204020204" charset="-122"/>
                <a:ea typeface="微软雅黑" panose="020B0503020204020204" charset="-122"/>
                <a:cs typeface="微软雅黑" panose="020B0503020204020204" charset="-122"/>
              </a:rPr>
              <a:t>回溯机制：</a:t>
            </a:r>
            <a:r>
              <a:rPr lang="zh-CN" altLang="en-US" sz="1000">
                <a:solidFill>
                  <a:schemeClr val="accent1"/>
                </a:solidFill>
                <a:latin typeface="微软雅黑" panose="020B0503020204020204" charset="-122"/>
                <a:ea typeface="微软雅黑" panose="020B0503020204020204" charset="-122"/>
                <a:cs typeface="微软雅黑" panose="020B0503020204020204" charset="-122"/>
              </a:rPr>
              <a:t>业务落地后，保险人按季度进行本业务回溯，如满期赔付率达30%，即由保险人和经纪人共同协商，重新制定承保条件。</a:t>
            </a:r>
            <a:endParaRPr lang="zh-CN" altLang="en-US" sz="1000">
              <a:solidFill>
                <a:schemeClr val="accent1"/>
              </a:solidFill>
              <a:latin typeface="微软雅黑" panose="020B0503020204020204" charset="-122"/>
              <a:ea typeface="微软雅黑" panose="020B0503020204020204" charset="-122"/>
              <a:cs typeface="微软雅黑" panose="020B0503020204020204" charset="-122"/>
            </a:endParaRPr>
          </a:p>
        </p:txBody>
      </p:sp>
      <p:pic>
        <p:nvPicPr>
          <p:cNvPr id="6" name="图片 5" descr="微信截图_20240604155649"/>
          <p:cNvPicPr>
            <a:picLocks noChangeAspect="1"/>
          </p:cNvPicPr>
          <p:nvPr>
            <p:custDataLst>
              <p:tags r:id="rId5"/>
            </p:custDataLst>
          </p:nvPr>
        </p:nvPicPr>
        <p:blipFill>
          <a:blip r:embed="rId6"/>
          <a:stretch>
            <a:fillRect/>
          </a:stretch>
        </p:blipFill>
        <p:spPr>
          <a:xfrm>
            <a:off x="7376795" y="4498340"/>
            <a:ext cx="1764030" cy="645160"/>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Shape4"/>
          <p:cNvGrpSpPr/>
          <p:nvPr/>
        </p:nvGrpSpPr>
        <p:grpSpPr>
          <a:xfrm>
            <a:off x="299618" y="412859"/>
            <a:ext cx="824633" cy="144001"/>
            <a:chOff x="7922707" y="4563003"/>
            <a:chExt cx="824632" cy="144000"/>
          </a:xfrm>
        </p:grpSpPr>
        <p:sp>
          <p:nvSpPr>
            <p:cNvPr id="1048926"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927"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928"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64"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65"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929" name="Shape5"/>
          <p:cNvSpPr txBox="1"/>
          <p:nvPr/>
        </p:nvSpPr>
        <p:spPr>
          <a:xfrm>
            <a:off x="1150409" y="346360"/>
            <a:ext cx="1652954"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保险方案</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sp>
        <p:nvSpPr>
          <p:cNvPr id="1048930" name="Shape6"/>
          <p:cNvSpPr/>
          <p:nvPr/>
        </p:nvSpPr>
        <p:spPr bwMode="gray">
          <a:xfrm flipV="1">
            <a:off x="1061825" y="2265340"/>
            <a:ext cx="816122" cy="1135463"/>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bg1">
              <a:lumMod val="65000"/>
            </a:schemeClr>
          </a:solidFill>
          <a:ln>
            <a:noFill/>
          </a:ln>
          <a:effectLst/>
        </p:spPr>
        <p:txBody>
          <a:bodyPr wrap="none" lIns="46572" tIns="23285" rIns="46572" bIns="23285"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675" dirty="0">
              <a:solidFill>
                <a:sysClr val="windowText" lastClr="000000"/>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32" name="Shape8"/>
          <p:cNvSpPr/>
          <p:nvPr/>
        </p:nvSpPr>
        <p:spPr bwMode="gray">
          <a:xfrm>
            <a:off x="1057873" y="1309040"/>
            <a:ext cx="816122" cy="1315323"/>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bg1">
              <a:lumMod val="65000"/>
            </a:schemeClr>
          </a:solidFill>
          <a:ln>
            <a:noFill/>
          </a:ln>
          <a:effectLst/>
        </p:spPr>
        <p:txBody>
          <a:bodyPr wrap="none" lIns="46572" tIns="23285" rIns="46572" bIns="23285"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675" dirty="0">
              <a:solidFill>
                <a:sysClr val="windowText" lastClr="000000"/>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33" name="Shape9"/>
          <p:cNvSpPr>
            <a:spLocks noChangeArrowheads="1"/>
          </p:cNvSpPr>
          <p:nvPr/>
        </p:nvSpPr>
        <p:spPr bwMode="gray">
          <a:xfrm>
            <a:off x="3136583" y="763429"/>
            <a:ext cx="4348163" cy="892969"/>
          </a:xfrm>
          <a:prstGeom prst="roundRect">
            <a:avLst>
              <a:gd name="adj" fmla="val 11505"/>
            </a:avLst>
          </a:prstGeom>
          <a:solidFill>
            <a:schemeClr val="accent1"/>
          </a:solidFill>
          <a:ln w="15875" cap="flat" cmpd="sng" algn="ctr">
            <a:noFill/>
            <a:prstDash val="solid"/>
          </a:ln>
          <a:effectLst/>
        </p:spPr>
        <p:txBody>
          <a:bodyPr lIns="46572" tIns="23285" rIns="46572" bIns="23285"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50000"/>
              </a:lnSpc>
              <a:spcBef>
                <a:spcPct val="0"/>
              </a:spcBef>
              <a:spcAft>
                <a:spcPct val="0"/>
              </a:spcAft>
            </a:pPr>
            <a:r>
              <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第三者财产损失每人每次事故绝对免赔 800 元或损失金额的 5%，以高者为准。</a:t>
            </a:r>
            <a:endPar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a:p>
            <a:pPr fontAlgn="base">
              <a:lnSpc>
                <a:spcPct val="150000"/>
              </a:lnSpc>
              <a:spcBef>
                <a:spcPct val="0"/>
              </a:spcBef>
              <a:spcAft>
                <a:spcPct val="0"/>
              </a:spcAft>
            </a:pPr>
            <a:r>
              <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医疗费用每人每次事故绝对免赔100元，扣除免赔后按照90%比例赔付。</a:t>
            </a:r>
            <a:endPar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34" name="Shape10"/>
          <p:cNvSpPr>
            <a:spLocks noChangeArrowheads="1"/>
          </p:cNvSpPr>
          <p:nvPr/>
        </p:nvSpPr>
        <p:spPr bwMode="gray">
          <a:xfrm>
            <a:off x="3136583" y="1749743"/>
            <a:ext cx="4414361" cy="2947988"/>
          </a:xfrm>
          <a:prstGeom prst="roundRect">
            <a:avLst>
              <a:gd name="adj" fmla="val 11505"/>
            </a:avLst>
          </a:prstGeom>
          <a:solidFill>
            <a:schemeClr val="accent1"/>
          </a:solidFill>
          <a:ln w="15875" cap="flat" cmpd="sng" algn="ctr">
            <a:noFill/>
            <a:prstDash val="solid"/>
          </a:ln>
          <a:effectLst/>
        </p:spPr>
        <p:txBody>
          <a:bodyPr lIns="46572" tIns="23285" rIns="46572" bIns="23285"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50000"/>
              </a:lnSpc>
              <a:spcBef>
                <a:spcPct val="0"/>
              </a:spcBef>
              <a:spcAft>
                <a:spcPct val="0"/>
              </a:spcAft>
            </a:pPr>
            <a:r>
              <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1、投保人、被保险人或者保险金受益人知道保险事故发生后,应当在24 小时内或经保险人书面同意延长的期限内通知保险人(24 小时服务电话95393)。故意或者因重大过失未及时通知致使保险事故的性质、原因、损失程度等难以确定的,保险人对无法确定的部分,不承担给付保险金责任。</a:t>
            </a:r>
            <a:endPar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a:p>
            <a:pPr fontAlgn="base">
              <a:lnSpc>
                <a:spcPct val="150000"/>
              </a:lnSpc>
              <a:spcBef>
                <a:spcPct val="0"/>
              </a:spcBef>
              <a:spcAft>
                <a:spcPct val="0"/>
              </a:spcAft>
            </a:pPr>
            <a:r>
              <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2、被保险人发生意外事故后,应依照条款约定的标准在出险地或经常居住地的二级或二级以上的公立医院就医(紧急医疗救助可以就近就医后经保险公司书面同意后再转院),如在出险地或经常居住地以外就医必须经本保险公司书面同意:本保险公司对于被保险人非经本保险公司同意而在出险地或经常居住地区域外就医或到其它医院就医的医疗费用，不承担赔偿或者给付保险金的责任。</a:t>
            </a:r>
            <a:endPar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a:p>
            <a:pPr fontAlgn="base">
              <a:lnSpc>
                <a:spcPct val="150000"/>
              </a:lnSpc>
              <a:spcBef>
                <a:spcPct val="0"/>
              </a:spcBef>
              <a:spcAft>
                <a:spcPct val="0"/>
              </a:spcAft>
            </a:pPr>
            <a:r>
              <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3、使用的液化气瓶需按照国家相关法律法规规定定期检测，如使用未检测合格的液化气瓶发生保险事故，保险人有权不承担赔偿责任。</a:t>
            </a:r>
            <a:endPar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a:p>
            <a:pPr fontAlgn="base">
              <a:lnSpc>
                <a:spcPct val="150000"/>
              </a:lnSpc>
              <a:spcBef>
                <a:spcPct val="0"/>
              </a:spcBef>
              <a:spcAft>
                <a:spcPct val="0"/>
              </a:spcAft>
            </a:pPr>
            <a:r>
              <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4、兹经双方约定同意，本保单保险期限从每只液化气瓶充装时起，到下次充装时止，最长不超过3个月。</a:t>
            </a:r>
            <a:endPar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a:p>
            <a:pPr fontAlgn="base">
              <a:lnSpc>
                <a:spcPct val="150000"/>
              </a:lnSpc>
              <a:spcBef>
                <a:spcPct val="0"/>
              </a:spcBef>
              <a:spcAft>
                <a:spcPct val="0"/>
              </a:spcAft>
            </a:pPr>
            <a:r>
              <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5、本保单每次事故责任限额100万，累计事故责任限额300万。</a:t>
            </a:r>
            <a:endParaRPr lang="zh-CN" altLang="en-US" sz="9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36" name="Shape12"/>
          <p:cNvSpPr/>
          <p:nvPr/>
        </p:nvSpPr>
        <p:spPr>
          <a:xfrm>
            <a:off x="314788" y="1841683"/>
            <a:ext cx="1148003" cy="1148003"/>
          </a:xfrm>
          <a:prstGeom prst="ellipse">
            <a:avLst/>
          </a:prstGeom>
          <a:solidFill>
            <a:schemeClr val="accent1"/>
          </a:solidFill>
          <a:ln w="317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nvGrpSpPr>
          <p:cNvPr id="83" name="Shape13"/>
          <p:cNvGrpSpPr/>
          <p:nvPr/>
        </p:nvGrpSpPr>
        <p:grpSpPr>
          <a:xfrm>
            <a:off x="373128" y="2066004"/>
            <a:ext cx="1009174" cy="779145"/>
            <a:chOff x="8895664" y="2437732"/>
            <a:chExt cx="1081622" cy="1043494"/>
          </a:xfrm>
        </p:grpSpPr>
        <p:sp>
          <p:nvSpPr>
            <p:cNvPr id="1048937" name="Shape13"/>
            <p:cNvSpPr txBox="1"/>
            <p:nvPr/>
          </p:nvSpPr>
          <p:spPr>
            <a:xfrm>
              <a:off x="8931338" y="2437732"/>
              <a:ext cx="1010653" cy="554489"/>
            </a:xfrm>
            <a:prstGeom prst="rect">
              <a:avLst/>
            </a:prstGeom>
            <a:noFill/>
          </p:spPr>
          <p:txBody>
            <a:bodyPr wrap="square" rtlCol="0">
              <a:spAutoFit/>
            </a:bodyPr>
            <a:lstStyle/>
            <a:p>
              <a:pPr algn="ctr"/>
              <a:endParaRPr lang="zh-CN" altLang="en-US" sz="2100" dirty="0">
                <a:solidFill>
                  <a:schemeClr val="tx1">
                    <a:lumMod val="65000"/>
                    <a:lumOff val="35000"/>
                  </a:schemeClr>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38" name="Shape13"/>
            <p:cNvSpPr txBox="1"/>
            <p:nvPr/>
          </p:nvSpPr>
          <p:spPr>
            <a:xfrm>
              <a:off x="8895664" y="2523201"/>
              <a:ext cx="1081622" cy="958025"/>
            </a:xfrm>
            <a:prstGeom prst="rect">
              <a:avLst/>
            </a:prstGeom>
            <a:noFill/>
          </p:spPr>
          <p:txBody>
            <a:bodyPr wrap="square" rtlCol="0">
              <a:noAutofit/>
            </a:bodyPr>
            <a:lstStyle/>
            <a:p>
              <a:pPr algn="ctr"/>
              <a:r>
                <a:rPr lang="zh-CN" sz="1800" b="1"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保险</a:t>
              </a:r>
              <a:endParaRPr lang="zh-CN" sz="1800" b="1"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a:p>
              <a:pPr algn="ctr"/>
              <a:r>
                <a:rPr lang="zh-CN" sz="1800" b="1"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方案</a:t>
              </a:r>
              <a:endParaRPr lang="zh-CN" sz="1800" b="1"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sp>
        <p:nvSpPr>
          <p:cNvPr id="1048939" name="Shape14"/>
          <p:cNvSpPr/>
          <p:nvPr/>
        </p:nvSpPr>
        <p:spPr>
          <a:xfrm>
            <a:off x="2064497" y="734662"/>
            <a:ext cx="946527" cy="935375"/>
          </a:xfrm>
          <a:prstGeom prst="roundRect">
            <a:avLst>
              <a:gd name="adj" fmla="val 9039"/>
            </a:avLst>
          </a:prstGeom>
          <a:solidFill>
            <a:schemeClr val="accent2"/>
          </a:solidFill>
          <a:ln w="317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40" name="Shape15"/>
          <p:cNvSpPr txBox="1"/>
          <p:nvPr/>
        </p:nvSpPr>
        <p:spPr>
          <a:xfrm>
            <a:off x="2064544" y="1112996"/>
            <a:ext cx="945833" cy="185738"/>
          </a:xfrm>
          <a:prstGeom prst="rect">
            <a:avLst/>
          </a:prstGeom>
        </p:spPr>
        <p:txBody>
          <a:bodyPr anchor="ct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zh-CN" altLang="en-US" sz="1350">
                <a:solidFill>
                  <a:schemeClr val="bg1"/>
                </a:solidFill>
                <a:latin typeface="汉仪旗黑X1-75W" panose="00020600040101010101" pitchFamily="18" charset="-122"/>
                <a:ea typeface="汉仪旗黑X1-75W" panose="00020600040101010101" pitchFamily="18" charset="-122"/>
                <a:cs typeface="+mn-ea"/>
                <a:sym typeface="汉仪旗黑X1-55W" panose="00020600040101010101" pitchFamily="18" charset="-122"/>
              </a:rPr>
              <a:t>免赔条件</a:t>
            </a:r>
            <a:endParaRPr lang="zh-CN" altLang="en-US" sz="1350">
              <a:solidFill>
                <a:schemeClr val="bg1"/>
              </a:solidFill>
              <a:latin typeface="汉仪旗黑X1-75W" panose="00020600040101010101" pitchFamily="18" charset="-122"/>
              <a:ea typeface="汉仪旗黑X1-75W" panose="00020600040101010101" pitchFamily="18" charset="-122"/>
              <a:cs typeface="+mn-ea"/>
              <a:sym typeface="汉仪旗黑X1-55W" panose="00020600040101010101" pitchFamily="18" charset="-122"/>
            </a:endParaRPr>
          </a:p>
        </p:txBody>
      </p:sp>
      <p:sp>
        <p:nvSpPr>
          <p:cNvPr id="1048941" name="Shape16"/>
          <p:cNvSpPr/>
          <p:nvPr/>
        </p:nvSpPr>
        <p:spPr>
          <a:xfrm>
            <a:off x="2064892" y="2786252"/>
            <a:ext cx="946527" cy="935375"/>
          </a:xfrm>
          <a:prstGeom prst="roundRect">
            <a:avLst>
              <a:gd name="adj" fmla="val 9039"/>
            </a:avLst>
          </a:prstGeom>
          <a:solidFill>
            <a:schemeClr val="accent1"/>
          </a:solidFill>
          <a:ln w="317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42" name="Shape17"/>
          <p:cNvSpPr txBox="1"/>
          <p:nvPr/>
        </p:nvSpPr>
        <p:spPr>
          <a:xfrm>
            <a:off x="2086928" y="3164681"/>
            <a:ext cx="923449" cy="177165"/>
          </a:xfrm>
          <a:prstGeom prst="rect">
            <a:avLst/>
          </a:prstGeom>
        </p:spPr>
        <p:txBody>
          <a:bodyPr anchor="ct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zh-CN" altLang="en-US" sz="1350">
                <a:solidFill>
                  <a:schemeClr val="bg1"/>
                </a:solidFill>
                <a:latin typeface="汉仪旗黑X1-75W" panose="00020600040101010101" pitchFamily="18" charset="-122"/>
                <a:ea typeface="汉仪旗黑X1-75W" panose="00020600040101010101" pitchFamily="18" charset="-122"/>
                <a:cs typeface="+mn-ea"/>
                <a:sym typeface="汉仪旗黑X1-55W" panose="00020600040101010101" pitchFamily="18" charset="-122"/>
              </a:rPr>
              <a:t>特别约定</a:t>
            </a:r>
            <a:endParaRPr lang="zh-CN" altLang="en-US" sz="1350">
              <a:solidFill>
                <a:schemeClr val="bg1"/>
              </a:solidFill>
              <a:latin typeface="汉仪旗黑X1-75W" panose="00020600040101010101" pitchFamily="18" charset="-122"/>
              <a:ea typeface="汉仪旗黑X1-75W" panose="00020600040101010101" pitchFamily="18" charset="-122"/>
              <a:cs typeface="+mn-ea"/>
              <a:sym typeface="汉仪旗黑X1-55W" panose="00020600040101010101" pitchFamily="18" charset="-122"/>
            </a:endParaRPr>
          </a:p>
        </p:txBody>
      </p:sp>
    </p:spTree>
  </p:cSld>
  <p:clrMapOvr>
    <a:masterClrMapping/>
  </p:clrMapOvr>
  <p:timing>
    <p:tnLst>
      <p:par>
        <p:cTn id="1" dur="indefinite" restart="never" nodeType="tmRoot"/>
      </p:par>
    </p:tnLst>
    <p:bldLst>
      <p:bldP spid="1048930" grpId="0" bldLvl="0" animBg="1"/>
      <p:bldP spid="1048932" grpId="0" bldLvl="0" animBg="1"/>
      <p:bldP spid="1048933" grpId="0" bldLvl="0" animBg="1"/>
      <p:bldP spid="1048934" grpId="0" bldLvl="0" animBg="1"/>
      <p:bldP spid="1048936" grpId="0" bldLvl="0" animBg="1"/>
      <p:bldP spid="1048939" grpId="0" bldLvl="0" animBg="1"/>
      <p:bldP spid="1048940" grpId="0" build="p"/>
      <p:bldP spid="1048941" grpId="0" bldLvl="0" animBg="1"/>
      <p:bldP spid="1048942"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Shape4"/>
          <p:cNvGrpSpPr/>
          <p:nvPr/>
        </p:nvGrpSpPr>
        <p:grpSpPr>
          <a:xfrm>
            <a:off x="299618" y="412859"/>
            <a:ext cx="824633" cy="144001"/>
            <a:chOff x="7922707" y="4563003"/>
            <a:chExt cx="824632" cy="144000"/>
          </a:xfrm>
        </p:grpSpPr>
        <p:sp>
          <p:nvSpPr>
            <p:cNvPr id="1048789"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90"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91"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47"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48"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792" name="Shape5"/>
          <p:cNvSpPr txBox="1"/>
          <p:nvPr/>
        </p:nvSpPr>
        <p:spPr>
          <a:xfrm>
            <a:off x="1150409" y="346360"/>
            <a:ext cx="1652954"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保险责任</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sp>
        <p:nvSpPr>
          <p:cNvPr id="1048793" name="Shape6"/>
          <p:cNvSpPr/>
          <p:nvPr/>
        </p:nvSpPr>
        <p:spPr>
          <a:xfrm>
            <a:off x="5348472" y="1100248"/>
            <a:ext cx="1527113" cy="1528778"/>
          </a:xfrm>
          <a:custGeom>
            <a:avLst/>
            <a:gdLst>
              <a:gd name="connsiteX0" fmla="*/ 0 w 2036151"/>
              <a:gd name="connsiteY0" fmla="*/ 0 h 2038371"/>
              <a:gd name="connsiteX1" fmla="*/ 2036151 w 2036151"/>
              <a:gd name="connsiteY1" fmla="*/ 0 h 2038371"/>
              <a:gd name="connsiteX2" fmla="*/ 2036151 w 2036151"/>
              <a:gd name="connsiteY2" fmla="*/ 2038371 h 2038371"/>
              <a:gd name="connsiteX3" fmla="*/ 0 w 2036151"/>
              <a:gd name="connsiteY3" fmla="*/ 2038371 h 2038371"/>
            </a:gdLst>
            <a:ahLst/>
            <a:cxnLst>
              <a:cxn ang="0">
                <a:pos x="connsiteX0" y="connsiteY0"/>
              </a:cxn>
              <a:cxn ang="0">
                <a:pos x="connsiteX1" y="connsiteY1"/>
              </a:cxn>
              <a:cxn ang="0">
                <a:pos x="connsiteX2" y="connsiteY2"/>
              </a:cxn>
              <a:cxn ang="0">
                <a:pos x="connsiteX3" y="connsiteY3"/>
              </a:cxn>
            </a:cxnLst>
            <a:rect l="l" t="t" r="r" b="b"/>
            <a:pathLst>
              <a:path w="2036151" h="2038371">
                <a:moveTo>
                  <a:pt x="0" y="0"/>
                </a:moveTo>
                <a:lnTo>
                  <a:pt x="2036151" y="0"/>
                </a:lnTo>
                <a:lnTo>
                  <a:pt x="2036151" y="2038371"/>
                </a:lnTo>
                <a:lnTo>
                  <a:pt x="0" y="2038371"/>
                </a:lnTo>
                <a:close/>
              </a:path>
            </a:pathLst>
          </a:custGeom>
          <a:blipFill>
            <a:blip r:embed="rId1"/>
            <a:srcRect/>
            <a:stretch>
              <a:fillRect t="-24469" b="-24469"/>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94" name="Shape7"/>
          <p:cNvSpPr/>
          <p:nvPr/>
        </p:nvSpPr>
        <p:spPr>
          <a:xfrm>
            <a:off x="564331" y="1128986"/>
            <a:ext cx="4524107" cy="15287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350" b="0" i="0" u="none" strike="noStrike" kern="1200" cap="none" spc="0" normalizeH="0" baseline="0" noProof="0">
              <a:ln>
                <a:noFill/>
              </a:ln>
              <a:solidFill>
                <a:prstClr val="white"/>
              </a:solidFill>
              <a:effectLst/>
              <a:uLnTx/>
              <a:uFillTx/>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95" name="Shape8"/>
          <p:cNvSpPr txBox="1"/>
          <p:nvPr>
            <p:custDataLst>
              <p:tags r:id="rId2"/>
            </p:custDataLst>
          </p:nvPr>
        </p:nvSpPr>
        <p:spPr>
          <a:xfrm>
            <a:off x="783908" y="1390174"/>
            <a:ext cx="4159091" cy="995363"/>
          </a:xfrm>
          <a:prstGeom prst="rect">
            <a:avLst/>
          </a:prstGeom>
        </p:spPr>
        <p:txBody>
          <a:bodyPr wrap="square">
            <a:noAutofit/>
          </a:bodyPr>
          <a:lstStyle>
            <a:defPPr>
              <a:defRPr lang="zh-CN"/>
            </a:defPPr>
            <a:lvl1pPr defTabSz="457200">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nSpc>
                <a:spcPct val="150000"/>
              </a:lnSpc>
            </a:pPr>
            <a:r>
              <a:rPr lang="zh-CN" altLang="en-US" sz="1050"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rPr>
              <a:t>在保险期间内，保险单载明的特种设备，由于下列原因造成第三者人身伤亡或财产损失，依照中华人民共和国法律（不包括港澳台地区法律）应由被保险人承担的经济赔偿责任，保险人按照本保险合同约定负责赔偿。</a:t>
            </a:r>
            <a:endParaRPr lang="zh-CN" altLang="en-US" sz="1050"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97" name="Shape11"/>
          <p:cNvSpPr txBox="1"/>
          <p:nvPr>
            <p:custDataLst>
              <p:tags r:id="rId3"/>
            </p:custDataLst>
          </p:nvPr>
        </p:nvSpPr>
        <p:spPr>
          <a:xfrm>
            <a:off x="6975158" y="397034"/>
            <a:ext cx="1536383" cy="2272665"/>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l">
              <a:lnSpc>
                <a:spcPct val="150000"/>
              </a:lnSpc>
            </a:pPr>
            <a:r>
              <a:rPr lang="zh-CN" altLang="en-US" sz="1050" dirty="0">
                <a:solidFill>
                  <a:schemeClr val="tx1"/>
                </a:solidFill>
                <a:latin typeface="汉仪旗黑X1-55W" panose="00020600040101010101" pitchFamily="18" charset="-122"/>
                <a:ea typeface="汉仪旗黑X1-55W" panose="00020600040101010101" pitchFamily="18" charset="-122"/>
                <a:sym typeface="汉仪旗黑X1-55W" panose="00020600040101010101" pitchFamily="18" charset="-122"/>
              </a:rPr>
              <a:t>保险事故发生后，被保险人因保险事故而被提起仲裁或者诉讼的，对应由被保险人支付的仲裁或诉讼费用以及事先经保险人书面同意支付的其他必要的、合理的费用，保险人按照本保险合同约定也负责赔偿。</a:t>
            </a:r>
            <a:endParaRPr lang="zh-CN" altLang="en-US" sz="1050" dirty="0">
              <a:solidFill>
                <a:schemeClr val="tx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99" name="Shape12"/>
          <p:cNvSpPr txBox="1"/>
          <p:nvPr>
            <p:custDataLst>
              <p:tags r:id="rId4"/>
            </p:custDataLst>
          </p:nvPr>
        </p:nvSpPr>
        <p:spPr>
          <a:xfrm>
            <a:off x="5348288" y="2761774"/>
            <a:ext cx="1527334" cy="1331595"/>
          </a:xfrm>
          <a:prstGeom prst="rect">
            <a:avLst/>
          </a:prstGeom>
        </p:spPr>
        <p:txBody>
          <a:bodyPr wrap="square">
            <a:no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nSpc>
                <a:spcPct val="150000"/>
              </a:lnSpc>
            </a:pPr>
            <a:r>
              <a:rPr lang="zh-CN" altLang="en-US" sz="1050" dirty="0">
                <a:solidFill>
                  <a:schemeClr val="tx1"/>
                </a:solidFill>
                <a:latin typeface="汉仪旗黑X1-55W" panose="00020600040101010101" pitchFamily="18" charset="-122"/>
                <a:ea typeface="汉仪旗黑X1-55W" panose="00020600040101010101" pitchFamily="18" charset="-122"/>
                <a:sym typeface="汉仪旗黑X1-55W" panose="00020600040101010101" pitchFamily="18" charset="-122"/>
              </a:rPr>
              <a:t>保险事故发生后，被保险人为防止或者减少损失所支付的必要的、合理的费用，保险人按照本保险合同的约定也负责赔偿。</a:t>
            </a:r>
            <a:endParaRPr lang="zh-CN" altLang="en-US" sz="1050" dirty="0">
              <a:solidFill>
                <a:schemeClr val="tx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00" name="Shape13"/>
          <p:cNvSpPr/>
          <p:nvPr/>
        </p:nvSpPr>
        <p:spPr>
          <a:xfrm>
            <a:off x="6975049" y="2654848"/>
            <a:ext cx="1527113" cy="1528778"/>
          </a:xfrm>
          <a:custGeom>
            <a:avLst/>
            <a:gdLst>
              <a:gd name="connsiteX0" fmla="*/ 0 w 2036151"/>
              <a:gd name="connsiteY0" fmla="*/ 0 h 2038371"/>
              <a:gd name="connsiteX1" fmla="*/ 2036151 w 2036151"/>
              <a:gd name="connsiteY1" fmla="*/ 0 h 2038371"/>
              <a:gd name="connsiteX2" fmla="*/ 2036151 w 2036151"/>
              <a:gd name="connsiteY2" fmla="*/ 2038371 h 2038371"/>
              <a:gd name="connsiteX3" fmla="*/ 0 w 2036151"/>
              <a:gd name="connsiteY3" fmla="*/ 2038371 h 2038371"/>
            </a:gdLst>
            <a:ahLst/>
            <a:cxnLst>
              <a:cxn ang="0">
                <a:pos x="connsiteX0" y="connsiteY0"/>
              </a:cxn>
              <a:cxn ang="0">
                <a:pos x="connsiteX1" y="connsiteY1"/>
              </a:cxn>
              <a:cxn ang="0">
                <a:pos x="connsiteX2" y="connsiteY2"/>
              </a:cxn>
              <a:cxn ang="0">
                <a:pos x="connsiteX3" y="connsiteY3"/>
              </a:cxn>
            </a:cxnLst>
            <a:rect l="l" t="t" r="r" b="b"/>
            <a:pathLst>
              <a:path w="2036151" h="2038371">
                <a:moveTo>
                  <a:pt x="0" y="0"/>
                </a:moveTo>
                <a:lnTo>
                  <a:pt x="2036151" y="0"/>
                </a:lnTo>
                <a:lnTo>
                  <a:pt x="2036151" y="2038371"/>
                </a:lnTo>
                <a:lnTo>
                  <a:pt x="0" y="2038371"/>
                </a:lnTo>
                <a:close/>
              </a:path>
            </a:pathLst>
          </a:custGeom>
          <a:blipFill>
            <a:blip r:embed="rId5"/>
            <a:srcRect/>
            <a:stretch>
              <a:fillRect t="-24919" b="-24919"/>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02" name="Shape7"/>
          <p:cNvSpPr txBox="1"/>
          <p:nvPr/>
        </p:nvSpPr>
        <p:spPr>
          <a:xfrm>
            <a:off x="783908" y="2917031"/>
            <a:ext cx="3499485" cy="1198880"/>
          </a:xfrm>
          <a:prstGeom prst="rect">
            <a:avLst/>
          </a:prstGeom>
        </p:spPr>
        <p:txBody>
          <a:bodyPr wrap="square">
            <a:spAutoFit/>
          </a:bodyPr>
          <a:lstStyle>
            <a:defPPr>
              <a:defRPr lang="zh-CN"/>
            </a:defPPr>
            <a:lvl1pPr defTabSz="457200">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l">
              <a:lnSpc>
                <a:spcPct val="150000"/>
              </a:lnSpc>
            </a:pPr>
            <a:r>
              <a:rPr lang="zh-CN" altLang="en-US" b="1" dirty="0">
                <a:solidFill>
                  <a:schemeClr val="accent1"/>
                </a:solidFill>
                <a:latin typeface="汉仪旗黑X1-55W" panose="00020600040101010101" pitchFamily="18" charset="-122"/>
                <a:ea typeface="汉仪旗黑X1-55W" panose="00020600040101010101" pitchFamily="18" charset="-122"/>
                <a:sym typeface="汉仪旗黑X1-55W" panose="00020600040101010101" pitchFamily="18" charset="-122"/>
              </a:rPr>
              <a:t>（一）操作人员的过失行为；</a:t>
            </a:r>
            <a:endParaRPr lang="zh-CN" altLang="en-US" b="1" dirty="0">
              <a:solidFill>
                <a:schemeClr val="accent1"/>
              </a:solidFill>
              <a:latin typeface="汉仪旗黑X1-55W" panose="00020600040101010101" pitchFamily="18" charset="-122"/>
              <a:ea typeface="汉仪旗黑X1-55W" panose="00020600040101010101" pitchFamily="18" charset="-122"/>
              <a:sym typeface="汉仪旗黑X1-55W" panose="00020600040101010101" pitchFamily="18" charset="-122"/>
            </a:endParaRPr>
          </a:p>
          <a:p>
            <a:pPr algn="l">
              <a:lnSpc>
                <a:spcPct val="150000"/>
              </a:lnSpc>
            </a:pPr>
            <a:r>
              <a:rPr lang="zh-CN" altLang="en-US" b="1" dirty="0">
                <a:solidFill>
                  <a:schemeClr val="accent1"/>
                </a:solidFill>
                <a:latin typeface="汉仪旗黑X1-55W" panose="00020600040101010101" pitchFamily="18" charset="-122"/>
                <a:ea typeface="汉仪旗黑X1-55W" panose="00020600040101010101" pitchFamily="18" charset="-122"/>
                <a:sym typeface="汉仪旗黑X1-55W" panose="00020600040101010101" pitchFamily="18" charset="-122"/>
              </a:rPr>
              <a:t>（二）自然灾害和意外事故致特种设备故障；</a:t>
            </a:r>
            <a:endParaRPr lang="zh-CN" altLang="en-US" b="1" dirty="0">
              <a:solidFill>
                <a:schemeClr val="accent1"/>
              </a:solidFill>
              <a:latin typeface="汉仪旗黑X1-55W" panose="00020600040101010101" pitchFamily="18" charset="-122"/>
              <a:ea typeface="汉仪旗黑X1-55W" panose="00020600040101010101" pitchFamily="18" charset="-122"/>
              <a:sym typeface="汉仪旗黑X1-55W" panose="00020600040101010101" pitchFamily="18" charset="-122"/>
            </a:endParaRPr>
          </a:p>
          <a:p>
            <a:pPr algn="l">
              <a:lnSpc>
                <a:spcPct val="150000"/>
              </a:lnSpc>
            </a:pPr>
            <a:r>
              <a:rPr lang="zh-CN" altLang="en-US" b="1" dirty="0">
                <a:solidFill>
                  <a:schemeClr val="accent1"/>
                </a:solidFill>
                <a:latin typeface="汉仪旗黑X1-55W" panose="00020600040101010101" pitchFamily="18" charset="-122"/>
                <a:ea typeface="汉仪旗黑X1-55W" panose="00020600040101010101" pitchFamily="18" charset="-122"/>
                <a:sym typeface="汉仪旗黑X1-55W" panose="00020600040101010101" pitchFamily="18" charset="-122"/>
              </a:rPr>
              <a:t>（三）爆炸、坠落；</a:t>
            </a:r>
            <a:endParaRPr lang="zh-CN" altLang="en-US" b="1" dirty="0">
              <a:solidFill>
                <a:schemeClr val="accent1"/>
              </a:solidFill>
              <a:latin typeface="汉仪旗黑X1-55W" panose="00020600040101010101" pitchFamily="18" charset="-122"/>
              <a:ea typeface="汉仪旗黑X1-55W" panose="00020600040101010101" pitchFamily="18" charset="-122"/>
              <a:sym typeface="汉仪旗黑X1-55W" panose="00020600040101010101" pitchFamily="18" charset="-122"/>
            </a:endParaRPr>
          </a:p>
          <a:p>
            <a:pPr algn="l">
              <a:lnSpc>
                <a:spcPct val="150000"/>
              </a:lnSpc>
            </a:pPr>
            <a:r>
              <a:rPr lang="zh-CN" altLang="en-US" b="1" dirty="0">
                <a:solidFill>
                  <a:schemeClr val="accent1"/>
                </a:solidFill>
                <a:latin typeface="汉仪旗黑X1-55W" panose="00020600040101010101" pitchFamily="18" charset="-122"/>
                <a:ea typeface="汉仪旗黑X1-55W" panose="00020600040101010101" pitchFamily="18" charset="-122"/>
                <a:sym typeface="汉仪旗黑X1-55W" panose="00020600040101010101" pitchFamily="18" charset="-122"/>
              </a:rPr>
              <a:t>（四）特种设备运行过程中的突然故障。 </a:t>
            </a:r>
            <a:endParaRPr lang="zh-CN" altLang="en-US" dirty="0">
              <a:solidFill>
                <a:schemeClr val="accent1"/>
              </a:solidFill>
              <a:latin typeface="汉仪旗黑X1-55W" panose="00020600040101010101" pitchFamily="18" charset="-122"/>
              <a:ea typeface="汉仪旗黑X1-55W" panose="00020600040101010101" pitchFamily="18" charset="-122"/>
              <a:cs typeface="Alibaba PuHuiTi" pitchFamily="18" charset="-122"/>
              <a:sym typeface="汉仪旗黑X1-55W" panose="00020600040101010101" pitchFamily="18" charset="-122"/>
            </a:endParaRPr>
          </a:p>
        </p:txBody>
      </p:sp>
    </p:spTree>
  </p:cSld>
  <p:clrMapOvr>
    <a:masterClrMapping/>
  </p:clrMapOvr>
  <p:timing>
    <p:tnLst>
      <p:par>
        <p:cTn id="1" dur="indefinite" restart="never" nodeType="tmRoot"/>
      </p:par>
    </p:tnLst>
    <p:bldLst>
      <p:bldP spid="1048795" grpId="0"/>
      <p:bldP spid="104880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Shape4"/>
          <p:cNvGrpSpPr/>
          <p:nvPr/>
        </p:nvGrpSpPr>
        <p:grpSpPr>
          <a:xfrm>
            <a:off x="299618" y="412859"/>
            <a:ext cx="824633" cy="144001"/>
            <a:chOff x="7922707" y="4563003"/>
            <a:chExt cx="824632" cy="144000"/>
          </a:xfrm>
        </p:grpSpPr>
        <p:sp>
          <p:nvSpPr>
            <p:cNvPr id="1048837"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38"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39"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57"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58"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840" name="Shape5"/>
          <p:cNvSpPr txBox="1"/>
          <p:nvPr/>
        </p:nvSpPr>
        <p:spPr>
          <a:xfrm>
            <a:off x="1150409" y="346360"/>
            <a:ext cx="1652954"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责任免除</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sp>
        <p:nvSpPr>
          <p:cNvPr id="1048841" name="Shape6"/>
          <p:cNvSpPr/>
          <p:nvPr/>
        </p:nvSpPr>
        <p:spPr>
          <a:xfrm>
            <a:off x="1087345" y="1562840"/>
            <a:ext cx="2172218" cy="1087248"/>
          </a:xfrm>
          <a:custGeom>
            <a:avLst/>
            <a:gdLst>
              <a:gd name="connsiteX0" fmla="*/ 1411502 w 2823004"/>
              <a:gd name="connsiteY0" fmla="*/ 0 h 1412983"/>
              <a:gd name="connsiteX1" fmla="*/ 2823004 w 2823004"/>
              <a:gd name="connsiteY1" fmla="*/ 1411502 h 1412983"/>
              <a:gd name="connsiteX2" fmla="*/ 2822929 w 2823004"/>
              <a:gd name="connsiteY2" fmla="*/ 1412983 h 1412983"/>
              <a:gd name="connsiteX3" fmla="*/ 75 w 2823004"/>
              <a:gd name="connsiteY3" fmla="*/ 1412983 h 1412983"/>
              <a:gd name="connsiteX4" fmla="*/ 0 w 2823004"/>
              <a:gd name="connsiteY4" fmla="*/ 1411502 h 1412983"/>
              <a:gd name="connsiteX5" fmla="*/ 1411502 w 2823004"/>
              <a:gd name="connsiteY5" fmla="*/ 0 h 14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004" h="1412983">
                <a:moveTo>
                  <a:pt x="1411502" y="0"/>
                </a:moveTo>
                <a:cubicBezTo>
                  <a:pt x="2191053" y="0"/>
                  <a:pt x="2823004" y="631951"/>
                  <a:pt x="2823004" y="1411502"/>
                </a:cubicBezTo>
                <a:lnTo>
                  <a:pt x="2822929" y="1412983"/>
                </a:lnTo>
                <a:lnTo>
                  <a:pt x="75" y="1412983"/>
                </a:lnTo>
                <a:lnTo>
                  <a:pt x="0" y="1411502"/>
                </a:lnTo>
                <a:cubicBezTo>
                  <a:pt x="0" y="631951"/>
                  <a:pt x="631951" y="0"/>
                  <a:pt x="141150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42" name="Shape7"/>
          <p:cNvSpPr/>
          <p:nvPr/>
        </p:nvSpPr>
        <p:spPr>
          <a:xfrm>
            <a:off x="5917362" y="1550597"/>
            <a:ext cx="2172218" cy="1087248"/>
          </a:xfrm>
          <a:custGeom>
            <a:avLst/>
            <a:gdLst>
              <a:gd name="connsiteX0" fmla="*/ 1411502 w 2823004"/>
              <a:gd name="connsiteY0" fmla="*/ 0 h 1412983"/>
              <a:gd name="connsiteX1" fmla="*/ 2823004 w 2823004"/>
              <a:gd name="connsiteY1" fmla="*/ 1411502 h 1412983"/>
              <a:gd name="connsiteX2" fmla="*/ 2822929 w 2823004"/>
              <a:gd name="connsiteY2" fmla="*/ 1412983 h 1412983"/>
              <a:gd name="connsiteX3" fmla="*/ 75 w 2823004"/>
              <a:gd name="connsiteY3" fmla="*/ 1412983 h 1412983"/>
              <a:gd name="connsiteX4" fmla="*/ 0 w 2823004"/>
              <a:gd name="connsiteY4" fmla="*/ 1411502 h 1412983"/>
              <a:gd name="connsiteX5" fmla="*/ 1411502 w 2823004"/>
              <a:gd name="connsiteY5" fmla="*/ 0 h 14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004" h="1412983">
                <a:moveTo>
                  <a:pt x="1411502" y="0"/>
                </a:moveTo>
                <a:cubicBezTo>
                  <a:pt x="2191053" y="0"/>
                  <a:pt x="2823004" y="631951"/>
                  <a:pt x="2823004" y="1411502"/>
                </a:cubicBezTo>
                <a:lnTo>
                  <a:pt x="2822929" y="1412983"/>
                </a:lnTo>
                <a:lnTo>
                  <a:pt x="75" y="1412983"/>
                </a:lnTo>
                <a:lnTo>
                  <a:pt x="0" y="1411502"/>
                </a:lnTo>
                <a:cubicBezTo>
                  <a:pt x="0" y="631951"/>
                  <a:pt x="631951" y="0"/>
                  <a:pt x="141150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43" name="Shape8"/>
          <p:cNvSpPr/>
          <p:nvPr/>
        </p:nvSpPr>
        <p:spPr>
          <a:xfrm flipV="1">
            <a:off x="3496231" y="2652300"/>
            <a:ext cx="2172218" cy="1087248"/>
          </a:xfrm>
          <a:custGeom>
            <a:avLst/>
            <a:gdLst>
              <a:gd name="connsiteX0" fmla="*/ 1411502 w 2823004"/>
              <a:gd name="connsiteY0" fmla="*/ 0 h 1412983"/>
              <a:gd name="connsiteX1" fmla="*/ 2823004 w 2823004"/>
              <a:gd name="connsiteY1" fmla="*/ 1411502 h 1412983"/>
              <a:gd name="connsiteX2" fmla="*/ 2822929 w 2823004"/>
              <a:gd name="connsiteY2" fmla="*/ 1412983 h 1412983"/>
              <a:gd name="connsiteX3" fmla="*/ 75 w 2823004"/>
              <a:gd name="connsiteY3" fmla="*/ 1412983 h 1412983"/>
              <a:gd name="connsiteX4" fmla="*/ 0 w 2823004"/>
              <a:gd name="connsiteY4" fmla="*/ 1411502 h 1412983"/>
              <a:gd name="connsiteX5" fmla="*/ 1411502 w 2823004"/>
              <a:gd name="connsiteY5" fmla="*/ 0 h 14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004" h="1412983">
                <a:moveTo>
                  <a:pt x="1411502" y="0"/>
                </a:moveTo>
                <a:cubicBezTo>
                  <a:pt x="2191053" y="0"/>
                  <a:pt x="2823004" y="631951"/>
                  <a:pt x="2823004" y="1411502"/>
                </a:cubicBezTo>
                <a:lnTo>
                  <a:pt x="2822929" y="1412983"/>
                </a:lnTo>
                <a:lnTo>
                  <a:pt x="75" y="1412983"/>
                </a:lnTo>
                <a:lnTo>
                  <a:pt x="0" y="1411502"/>
                </a:lnTo>
                <a:cubicBezTo>
                  <a:pt x="0" y="631951"/>
                  <a:pt x="631951" y="0"/>
                  <a:pt x="141150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45" name="Shape10"/>
          <p:cNvSpPr txBox="1"/>
          <p:nvPr/>
        </p:nvSpPr>
        <p:spPr>
          <a:xfrm>
            <a:off x="3888581" y="3125629"/>
            <a:ext cx="1387793" cy="645160"/>
          </a:xfrm>
          <a:prstGeom prst="rect">
            <a:avLst/>
          </a:prstGeom>
          <a:noFill/>
          <a:effectLst/>
        </p:spPr>
        <p:txBody>
          <a:bodyPr wrap="square" rtlCol="0">
            <a:spAutoFit/>
          </a:bodyPr>
          <a:lstStyle/>
          <a:p>
            <a:pPr lvl="0" algn="ctr"/>
            <a:r>
              <a:rPr lang="zh-CN" altLang="en-US"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以上原因造成损失、费用和责任</a:t>
            </a:r>
            <a:r>
              <a:rPr lang="en-US" altLang="zh-CN"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 </a:t>
            </a:r>
            <a:r>
              <a:rPr lang="zh-CN" altLang="en-US"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免除</a:t>
            </a:r>
            <a:endParaRPr lang="zh-CN" altLang="en-US"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46" name="Shape11"/>
          <p:cNvSpPr txBox="1"/>
          <p:nvPr/>
        </p:nvSpPr>
        <p:spPr>
          <a:xfrm>
            <a:off x="6001703" y="2304098"/>
            <a:ext cx="2087880" cy="275590"/>
          </a:xfrm>
          <a:prstGeom prst="rect">
            <a:avLst/>
          </a:prstGeom>
          <a:noFill/>
          <a:effectLst/>
        </p:spPr>
        <p:txBody>
          <a:bodyPr wrap="square" rtlCol="0">
            <a:spAutoFit/>
          </a:bodyPr>
          <a:lstStyle/>
          <a:p>
            <a:pPr lvl="0" algn="l"/>
            <a:r>
              <a:rPr lang="zh-CN" altLang="en-US"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下列损失、费用和责任免除</a:t>
            </a:r>
            <a:endParaRPr lang="zh-CN" altLang="en-US"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nvGrpSpPr>
          <p:cNvPr id="71" name="Shape12"/>
          <p:cNvGrpSpPr/>
          <p:nvPr/>
        </p:nvGrpSpPr>
        <p:grpSpPr>
          <a:xfrm>
            <a:off x="4323611" y="2732424"/>
            <a:ext cx="517458" cy="393169"/>
            <a:chOff x="4268086" y="4221191"/>
            <a:chExt cx="509646" cy="387231"/>
          </a:xfrm>
          <a:solidFill>
            <a:schemeClr val="bg1"/>
          </a:solidFill>
        </p:grpSpPr>
        <p:sp>
          <p:nvSpPr>
            <p:cNvPr id="1048847" name="Shape12"/>
            <p:cNvSpPr>
              <a:spLocks noEditPoints="1"/>
            </p:cNvSpPr>
            <p:nvPr/>
          </p:nvSpPr>
          <p:spPr bwMode="auto">
            <a:xfrm>
              <a:off x="4268086" y="4273030"/>
              <a:ext cx="337890" cy="335392"/>
            </a:xfrm>
            <a:custGeom>
              <a:avLst/>
              <a:gdLst>
                <a:gd name="T0" fmla="*/ 229 w 229"/>
                <a:gd name="T1" fmla="*/ 128 h 227"/>
                <a:gd name="T2" fmla="*/ 229 w 229"/>
                <a:gd name="T3" fmla="*/ 98 h 227"/>
                <a:gd name="T4" fmla="*/ 206 w 229"/>
                <a:gd name="T5" fmla="*/ 93 h 227"/>
                <a:gd name="T6" fmla="*/ 200 w 229"/>
                <a:gd name="T7" fmla="*/ 76 h 227"/>
                <a:gd name="T8" fmla="*/ 216 w 229"/>
                <a:gd name="T9" fmla="*/ 58 h 227"/>
                <a:gd name="T10" fmla="*/ 198 w 229"/>
                <a:gd name="T11" fmla="*/ 34 h 227"/>
                <a:gd name="T12" fmla="*/ 176 w 229"/>
                <a:gd name="T13" fmla="*/ 44 h 227"/>
                <a:gd name="T14" fmla="*/ 161 w 229"/>
                <a:gd name="T15" fmla="*/ 33 h 227"/>
                <a:gd name="T16" fmla="*/ 164 w 229"/>
                <a:gd name="T17" fmla="*/ 9 h 227"/>
                <a:gd name="T18" fmla="*/ 135 w 229"/>
                <a:gd name="T19" fmla="*/ 0 h 227"/>
                <a:gd name="T20" fmla="*/ 123 w 229"/>
                <a:gd name="T21" fmla="*/ 20 h 227"/>
                <a:gd name="T22" fmla="*/ 114 w 229"/>
                <a:gd name="T23" fmla="*/ 20 h 227"/>
                <a:gd name="T24" fmla="*/ 105 w 229"/>
                <a:gd name="T25" fmla="*/ 20 h 227"/>
                <a:gd name="T26" fmla="*/ 93 w 229"/>
                <a:gd name="T27" fmla="*/ 0 h 227"/>
                <a:gd name="T28" fmla="*/ 65 w 229"/>
                <a:gd name="T29" fmla="*/ 9 h 227"/>
                <a:gd name="T30" fmla="*/ 67 w 229"/>
                <a:gd name="T31" fmla="*/ 33 h 227"/>
                <a:gd name="T32" fmla="*/ 52 w 229"/>
                <a:gd name="T33" fmla="*/ 44 h 227"/>
                <a:gd name="T34" fmla="*/ 30 w 229"/>
                <a:gd name="T35" fmla="*/ 34 h 227"/>
                <a:gd name="T36" fmla="*/ 13 w 229"/>
                <a:gd name="T37" fmla="*/ 58 h 227"/>
                <a:gd name="T38" fmla="*/ 29 w 229"/>
                <a:gd name="T39" fmla="*/ 76 h 227"/>
                <a:gd name="T40" fmla="*/ 23 w 229"/>
                <a:gd name="T41" fmla="*/ 94 h 227"/>
                <a:gd name="T42" fmla="*/ 0 w 229"/>
                <a:gd name="T43" fmla="*/ 98 h 227"/>
                <a:gd name="T44" fmla="*/ 0 w 229"/>
                <a:gd name="T45" fmla="*/ 128 h 227"/>
                <a:gd name="T46" fmla="*/ 23 w 229"/>
                <a:gd name="T47" fmla="*/ 133 h 227"/>
                <a:gd name="T48" fmla="*/ 29 w 229"/>
                <a:gd name="T49" fmla="*/ 151 h 227"/>
                <a:gd name="T50" fmla="*/ 13 w 229"/>
                <a:gd name="T51" fmla="*/ 169 h 227"/>
                <a:gd name="T52" fmla="*/ 31 w 229"/>
                <a:gd name="T53" fmla="*/ 193 h 227"/>
                <a:gd name="T54" fmla="*/ 52 w 229"/>
                <a:gd name="T55" fmla="*/ 183 h 227"/>
                <a:gd name="T56" fmla="*/ 67 w 229"/>
                <a:gd name="T57" fmla="*/ 194 h 227"/>
                <a:gd name="T58" fmla="*/ 65 w 229"/>
                <a:gd name="T59" fmla="*/ 218 h 227"/>
                <a:gd name="T60" fmla="*/ 93 w 229"/>
                <a:gd name="T61" fmla="*/ 227 h 227"/>
                <a:gd name="T62" fmla="*/ 105 w 229"/>
                <a:gd name="T63" fmla="*/ 206 h 227"/>
                <a:gd name="T64" fmla="*/ 114 w 229"/>
                <a:gd name="T65" fmla="*/ 207 h 227"/>
                <a:gd name="T66" fmla="*/ 124 w 229"/>
                <a:gd name="T67" fmla="*/ 206 h 227"/>
                <a:gd name="T68" fmla="*/ 135 w 229"/>
                <a:gd name="T69" fmla="*/ 227 h 227"/>
                <a:gd name="T70" fmla="*/ 164 w 229"/>
                <a:gd name="T71" fmla="*/ 217 h 227"/>
                <a:gd name="T72" fmla="*/ 161 w 229"/>
                <a:gd name="T73" fmla="*/ 194 h 227"/>
                <a:gd name="T74" fmla="*/ 176 w 229"/>
                <a:gd name="T75" fmla="*/ 183 h 227"/>
                <a:gd name="T76" fmla="*/ 198 w 229"/>
                <a:gd name="T77" fmla="*/ 193 h 227"/>
                <a:gd name="T78" fmla="*/ 216 w 229"/>
                <a:gd name="T79" fmla="*/ 168 h 227"/>
                <a:gd name="T80" fmla="*/ 200 w 229"/>
                <a:gd name="T81" fmla="*/ 151 h 227"/>
                <a:gd name="T82" fmla="*/ 206 w 229"/>
                <a:gd name="T83" fmla="*/ 133 h 227"/>
                <a:gd name="T84" fmla="*/ 229 w 229"/>
                <a:gd name="T85" fmla="*/ 128 h 227"/>
                <a:gd name="T86" fmla="*/ 114 w 229"/>
                <a:gd name="T87" fmla="*/ 180 h 227"/>
                <a:gd name="T88" fmla="*/ 47 w 229"/>
                <a:gd name="T89" fmla="*/ 113 h 227"/>
                <a:gd name="T90" fmla="*/ 114 w 229"/>
                <a:gd name="T91" fmla="*/ 46 h 227"/>
                <a:gd name="T92" fmla="*/ 181 w 229"/>
                <a:gd name="T93" fmla="*/ 113 h 227"/>
                <a:gd name="T94" fmla="*/ 114 w 229"/>
                <a:gd name="T95" fmla="*/ 18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9" h="227">
                  <a:moveTo>
                    <a:pt x="229" y="128"/>
                  </a:moveTo>
                  <a:cubicBezTo>
                    <a:pt x="229" y="98"/>
                    <a:pt x="229" y="98"/>
                    <a:pt x="229" y="98"/>
                  </a:cubicBezTo>
                  <a:cubicBezTo>
                    <a:pt x="206" y="93"/>
                    <a:pt x="206" y="93"/>
                    <a:pt x="206" y="93"/>
                  </a:cubicBezTo>
                  <a:cubicBezTo>
                    <a:pt x="204" y="87"/>
                    <a:pt x="202" y="81"/>
                    <a:pt x="200" y="76"/>
                  </a:cubicBezTo>
                  <a:cubicBezTo>
                    <a:pt x="216" y="58"/>
                    <a:pt x="216" y="58"/>
                    <a:pt x="216" y="58"/>
                  </a:cubicBezTo>
                  <a:cubicBezTo>
                    <a:pt x="198" y="34"/>
                    <a:pt x="198" y="34"/>
                    <a:pt x="198" y="34"/>
                  </a:cubicBezTo>
                  <a:cubicBezTo>
                    <a:pt x="176" y="44"/>
                    <a:pt x="176" y="44"/>
                    <a:pt x="176" y="44"/>
                  </a:cubicBezTo>
                  <a:cubicBezTo>
                    <a:pt x="172" y="39"/>
                    <a:pt x="167" y="36"/>
                    <a:pt x="161" y="33"/>
                  </a:cubicBezTo>
                  <a:cubicBezTo>
                    <a:pt x="164" y="9"/>
                    <a:pt x="164" y="9"/>
                    <a:pt x="164" y="9"/>
                  </a:cubicBezTo>
                  <a:cubicBezTo>
                    <a:pt x="135" y="0"/>
                    <a:pt x="135" y="0"/>
                    <a:pt x="135" y="0"/>
                  </a:cubicBezTo>
                  <a:cubicBezTo>
                    <a:pt x="123" y="20"/>
                    <a:pt x="123" y="20"/>
                    <a:pt x="123" y="20"/>
                  </a:cubicBezTo>
                  <a:cubicBezTo>
                    <a:pt x="120" y="20"/>
                    <a:pt x="117" y="20"/>
                    <a:pt x="114" y="20"/>
                  </a:cubicBezTo>
                  <a:cubicBezTo>
                    <a:pt x="111" y="20"/>
                    <a:pt x="108" y="20"/>
                    <a:pt x="105" y="20"/>
                  </a:cubicBezTo>
                  <a:cubicBezTo>
                    <a:pt x="93" y="0"/>
                    <a:pt x="93" y="0"/>
                    <a:pt x="93" y="0"/>
                  </a:cubicBezTo>
                  <a:cubicBezTo>
                    <a:pt x="65" y="9"/>
                    <a:pt x="65" y="9"/>
                    <a:pt x="65" y="9"/>
                  </a:cubicBezTo>
                  <a:cubicBezTo>
                    <a:pt x="67" y="33"/>
                    <a:pt x="67" y="33"/>
                    <a:pt x="67" y="33"/>
                  </a:cubicBezTo>
                  <a:cubicBezTo>
                    <a:pt x="62" y="36"/>
                    <a:pt x="57" y="39"/>
                    <a:pt x="52" y="44"/>
                  </a:cubicBezTo>
                  <a:cubicBezTo>
                    <a:pt x="30" y="34"/>
                    <a:pt x="30" y="34"/>
                    <a:pt x="30" y="34"/>
                  </a:cubicBezTo>
                  <a:cubicBezTo>
                    <a:pt x="13" y="58"/>
                    <a:pt x="13" y="58"/>
                    <a:pt x="13" y="58"/>
                  </a:cubicBezTo>
                  <a:cubicBezTo>
                    <a:pt x="29" y="76"/>
                    <a:pt x="29" y="76"/>
                    <a:pt x="29" y="76"/>
                  </a:cubicBezTo>
                  <a:cubicBezTo>
                    <a:pt x="26" y="81"/>
                    <a:pt x="24" y="87"/>
                    <a:pt x="23" y="94"/>
                  </a:cubicBezTo>
                  <a:cubicBezTo>
                    <a:pt x="0" y="98"/>
                    <a:pt x="0" y="98"/>
                    <a:pt x="0" y="98"/>
                  </a:cubicBezTo>
                  <a:cubicBezTo>
                    <a:pt x="0" y="128"/>
                    <a:pt x="0" y="128"/>
                    <a:pt x="0" y="128"/>
                  </a:cubicBezTo>
                  <a:cubicBezTo>
                    <a:pt x="23" y="133"/>
                    <a:pt x="23" y="133"/>
                    <a:pt x="23" y="133"/>
                  </a:cubicBezTo>
                  <a:cubicBezTo>
                    <a:pt x="24" y="139"/>
                    <a:pt x="26" y="145"/>
                    <a:pt x="29" y="151"/>
                  </a:cubicBezTo>
                  <a:cubicBezTo>
                    <a:pt x="13" y="169"/>
                    <a:pt x="13" y="169"/>
                    <a:pt x="13" y="169"/>
                  </a:cubicBezTo>
                  <a:cubicBezTo>
                    <a:pt x="31" y="193"/>
                    <a:pt x="31" y="193"/>
                    <a:pt x="31" y="193"/>
                  </a:cubicBezTo>
                  <a:cubicBezTo>
                    <a:pt x="52" y="183"/>
                    <a:pt x="52" y="183"/>
                    <a:pt x="52" y="183"/>
                  </a:cubicBezTo>
                  <a:cubicBezTo>
                    <a:pt x="57" y="187"/>
                    <a:pt x="62" y="191"/>
                    <a:pt x="67" y="194"/>
                  </a:cubicBezTo>
                  <a:cubicBezTo>
                    <a:pt x="65" y="218"/>
                    <a:pt x="65" y="218"/>
                    <a:pt x="65" y="218"/>
                  </a:cubicBezTo>
                  <a:cubicBezTo>
                    <a:pt x="93" y="227"/>
                    <a:pt x="93" y="227"/>
                    <a:pt x="93" y="227"/>
                  </a:cubicBezTo>
                  <a:cubicBezTo>
                    <a:pt x="105" y="206"/>
                    <a:pt x="105" y="206"/>
                    <a:pt x="105" y="206"/>
                  </a:cubicBezTo>
                  <a:cubicBezTo>
                    <a:pt x="108" y="207"/>
                    <a:pt x="111" y="207"/>
                    <a:pt x="114" y="207"/>
                  </a:cubicBezTo>
                  <a:cubicBezTo>
                    <a:pt x="117" y="207"/>
                    <a:pt x="121" y="207"/>
                    <a:pt x="124" y="206"/>
                  </a:cubicBezTo>
                  <a:cubicBezTo>
                    <a:pt x="135" y="227"/>
                    <a:pt x="135" y="227"/>
                    <a:pt x="135" y="227"/>
                  </a:cubicBezTo>
                  <a:cubicBezTo>
                    <a:pt x="164" y="217"/>
                    <a:pt x="164" y="217"/>
                    <a:pt x="164" y="217"/>
                  </a:cubicBezTo>
                  <a:cubicBezTo>
                    <a:pt x="161" y="194"/>
                    <a:pt x="161" y="194"/>
                    <a:pt x="161" y="194"/>
                  </a:cubicBezTo>
                  <a:cubicBezTo>
                    <a:pt x="167" y="191"/>
                    <a:pt x="172" y="187"/>
                    <a:pt x="176" y="183"/>
                  </a:cubicBezTo>
                  <a:cubicBezTo>
                    <a:pt x="198" y="193"/>
                    <a:pt x="198" y="193"/>
                    <a:pt x="198" y="193"/>
                  </a:cubicBezTo>
                  <a:cubicBezTo>
                    <a:pt x="216" y="168"/>
                    <a:pt x="216" y="168"/>
                    <a:pt x="216" y="168"/>
                  </a:cubicBezTo>
                  <a:cubicBezTo>
                    <a:pt x="200" y="151"/>
                    <a:pt x="200" y="151"/>
                    <a:pt x="200" y="151"/>
                  </a:cubicBezTo>
                  <a:cubicBezTo>
                    <a:pt x="202" y="145"/>
                    <a:pt x="204" y="139"/>
                    <a:pt x="206" y="133"/>
                  </a:cubicBezTo>
                  <a:lnTo>
                    <a:pt x="229" y="128"/>
                  </a:lnTo>
                  <a:close/>
                  <a:moveTo>
                    <a:pt x="114" y="180"/>
                  </a:moveTo>
                  <a:cubicBezTo>
                    <a:pt x="77" y="180"/>
                    <a:pt x="47" y="150"/>
                    <a:pt x="47" y="113"/>
                  </a:cubicBezTo>
                  <a:cubicBezTo>
                    <a:pt x="47" y="76"/>
                    <a:pt x="77" y="46"/>
                    <a:pt x="114" y="46"/>
                  </a:cubicBezTo>
                  <a:cubicBezTo>
                    <a:pt x="151" y="46"/>
                    <a:pt x="181" y="76"/>
                    <a:pt x="181" y="113"/>
                  </a:cubicBezTo>
                  <a:cubicBezTo>
                    <a:pt x="181" y="150"/>
                    <a:pt x="151" y="180"/>
                    <a:pt x="114" y="180"/>
                  </a:cubicBezTo>
                  <a:close/>
                </a:path>
              </a:pathLst>
            </a:custGeom>
            <a:grpFill/>
            <a:ln>
              <a:noFill/>
            </a:ln>
          </p:spPr>
          <p:txBody>
            <a:bodyPr vert="horz" wrap="square" lIns="68564" tIns="34281" rIns="68564" bIns="34281" numCol="1" anchor="t" anchorCtr="0" compatLnSpc="1"/>
            <a:lstStyle/>
            <a:p>
              <a:endParaRPr lang="zh-CN" altLang="en-US" sz="15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48" name="Shape12"/>
            <p:cNvSpPr>
              <a:spLocks noEditPoints="1"/>
            </p:cNvSpPr>
            <p:nvPr/>
          </p:nvSpPr>
          <p:spPr bwMode="auto">
            <a:xfrm>
              <a:off x="4577871" y="4221191"/>
              <a:ext cx="199861" cy="199861"/>
            </a:xfrm>
            <a:custGeom>
              <a:avLst/>
              <a:gdLst>
                <a:gd name="T0" fmla="*/ 135 w 135"/>
                <a:gd name="T1" fmla="*/ 76 h 135"/>
                <a:gd name="T2" fmla="*/ 135 w 135"/>
                <a:gd name="T3" fmla="*/ 58 h 135"/>
                <a:gd name="T4" fmla="*/ 122 w 135"/>
                <a:gd name="T5" fmla="*/ 55 h 135"/>
                <a:gd name="T6" fmla="*/ 118 w 135"/>
                <a:gd name="T7" fmla="*/ 45 h 135"/>
                <a:gd name="T8" fmla="*/ 128 w 135"/>
                <a:gd name="T9" fmla="*/ 34 h 135"/>
                <a:gd name="T10" fmla="*/ 117 w 135"/>
                <a:gd name="T11" fmla="*/ 20 h 135"/>
                <a:gd name="T12" fmla="*/ 104 w 135"/>
                <a:gd name="T13" fmla="*/ 26 h 135"/>
                <a:gd name="T14" fmla="*/ 96 w 135"/>
                <a:gd name="T15" fmla="*/ 19 h 135"/>
                <a:gd name="T16" fmla="*/ 97 w 135"/>
                <a:gd name="T17" fmla="*/ 5 h 135"/>
                <a:gd name="T18" fmla="*/ 80 w 135"/>
                <a:gd name="T19" fmla="*/ 0 h 135"/>
                <a:gd name="T20" fmla="*/ 73 w 135"/>
                <a:gd name="T21" fmla="*/ 12 h 135"/>
                <a:gd name="T22" fmla="*/ 67 w 135"/>
                <a:gd name="T23" fmla="*/ 12 h 135"/>
                <a:gd name="T24" fmla="*/ 62 w 135"/>
                <a:gd name="T25" fmla="*/ 12 h 135"/>
                <a:gd name="T26" fmla="*/ 55 w 135"/>
                <a:gd name="T27" fmla="*/ 0 h 135"/>
                <a:gd name="T28" fmla="*/ 38 w 135"/>
                <a:gd name="T29" fmla="*/ 5 h 135"/>
                <a:gd name="T30" fmla="*/ 39 w 135"/>
                <a:gd name="T31" fmla="*/ 19 h 135"/>
                <a:gd name="T32" fmla="*/ 30 w 135"/>
                <a:gd name="T33" fmla="*/ 26 h 135"/>
                <a:gd name="T34" fmla="*/ 18 w 135"/>
                <a:gd name="T35" fmla="*/ 20 h 135"/>
                <a:gd name="T36" fmla="*/ 7 w 135"/>
                <a:gd name="T37" fmla="*/ 34 h 135"/>
                <a:gd name="T38" fmla="*/ 17 w 135"/>
                <a:gd name="T39" fmla="*/ 45 h 135"/>
                <a:gd name="T40" fmla="*/ 13 w 135"/>
                <a:gd name="T41" fmla="*/ 55 h 135"/>
                <a:gd name="T42" fmla="*/ 0 w 135"/>
                <a:gd name="T43" fmla="*/ 58 h 135"/>
                <a:gd name="T44" fmla="*/ 0 w 135"/>
                <a:gd name="T45" fmla="*/ 76 h 135"/>
                <a:gd name="T46" fmla="*/ 13 w 135"/>
                <a:gd name="T47" fmla="*/ 79 h 135"/>
                <a:gd name="T48" fmla="*/ 17 w 135"/>
                <a:gd name="T49" fmla="*/ 90 h 135"/>
                <a:gd name="T50" fmla="*/ 7 w 135"/>
                <a:gd name="T51" fmla="*/ 100 h 135"/>
                <a:gd name="T52" fmla="*/ 18 w 135"/>
                <a:gd name="T53" fmla="*/ 114 h 135"/>
                <a:gd name="T54" fmla="*/ 31 w 135"/>
                <a:gd name="T55" fmla="*/ 109 h 135"/>
                <a:gd name="T56" fmla="*/ 39 w 135"/>
                <a:gd name="T57" fmla="*/ 115 h 135"/>
                <a:gd name="T58" fmla="*/ 38 w 135"/>
                <a:gd name="T59" fmla="*/ 129 h 135"/>
                <a:gd name="T60" fmla="*/ 55 w 135"/>
                <a:gd name="T61" fmla="*/ 135 h 135"/>
                <a:gd name="T62" fmla="*/ 62 w 135"/>
                <a:gd name="T63" fmla="*/ 122 h 135"/>
                <a:gd name="T64" fmla="*/ 68 w 135"/>
                <a:gd name="T65" fmla="*/ 123 h 135"/>
                <a:gd name="T66" fmla="*/ 73 w 135"/>
                <a:gd name="T67" fmla="*/ 122 h 135"/>
                <a:gd name="T68" fmla="*/ 80 w 135"/>
                <a:gd name="T69" fmla="*/ 135 h 135"/>
                <a:gd name="T70" fmla="*/ 97 w 135"/>
                <a:gd name="T71" fmla="*/ 129 h 135"/>
                <a:gd name="T72" fmla="*/ 96 w 135"/>
                <a:gd name="T73" fmla="*/ 115 h 135"/>
                <a:gd name="T74" fmla="*/ 104 w 135"/>
                <a:gd name="T75" fmla="*/ 109 h 135"/>
                <a:gd name="T76" fmla="*/ 117 w 135"/>
                <a:gd name="T77" fmla="*/ 114 h 135"/>
                <a:gd name="T78" fmla="*/ 128 w 135"/>
                <a:gd name="T79" fmla="*/ 100 h 135"/>
                <a:gd name="T80" fmla="*/ 118 w 135"/>
                <a:gd name="T81" fmla="*/ 89 h 135"/>
                <a:gd name="T82" fmla="*/ 122 w 135"/>
                <a:gd name="T83" fmla="*/ 79 h 135"/>
                <a:gd name="T84" fmla="*/ 135 w 135"/>
                <a:gd name="T85" fmla="*/ 76 h 135"/>
                <a:gd name="T86" fmla="*/ 67 w 135"/>
                <a:gd name="T87" fmla="*/ 107 h 135"/>
                <a:gd name="T88" fmla="*/ 28 w 135"/>
                <a:gd name="T89" fmla="*/ 67 h 135"/>
                <a:gd name="T90" fmla="*/ 67 w 135"/>
                <a:gd name="T91" fmla="*/ 27 h 135"/>
                <a:gd name="T92" fmla="*/ 107 w 135"/>
                <a:gd name="T93" fmla="*/ 67 h 135"/>
                <a:gd name="T94" fmla="*/ 67 w 135"/>
                <a:gd name="T95" fmla="*/ 10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5" h="135">
                  <a:moveTo>
                    <a:pt x="135" y="76"/>
                  </a:moveTo>
                  <a:cubicBezTo>
                    <a:pt x="135" y="58"/>
                    <a:pt x="135" y="58"/>
                    <a:pt x="135" y="58"/>
                  </a:cubicBezTo>
                  <a:cubicBezTo>
                    <a:pt x="122" y="55"/>
                    <a:pt x="122" y="55"/>
                    <a:pt x="122" y="55"/>
                  </a:cubicBezTo>
                  <a:cubicBezTo>
                    <a:pt x="121" y="52"/>
                    <a:pt x="120" y="48"/>
                    <a:pt x="118" y="45"/>
                  </a:cubicBezTo>
                  <a:cubicBezTo>
                    <a:pt x="128" y="34"/>
                    <a:pt x="128" y="34"/>
                    <a:pt x="128" y="34"/>
                  </a:cubicBezTo>
                  <a:cubicBezTo>
                    <a:pt x="117" y="20"/>
                    <a:pt x="117" y="20"/>
                    <a:pt x="117" y="20"/>
                  </a:cubicBezTo>
                  <a:cubicBezTo>
                    <a:pt x="104" y="26"/>
                    <a:pt x="104" y="26"/>
                    <a:pt x="104" y="26"/>
                  </a:cubicBezTo>
                  <a:cubicBezTo>
                    <a:pt x="102" y="23"/>
                    <a:pt x="99" y="21"/>
                    <a:pt x="96" y="19"/>
                  </a:cubicBezTo>
                  <a:cubicBezTo>
                    <a:pt x="97" y="5"/>
                    <a:pt x="97" y="5"/>
                    <a:pt x="97" y="5"/>
                  </a:cubicBezTo>
                  <a:cubicBezTo>
                    <a:pt x="80" y="0"/>
                    <a:pt x="80" y="0"/>
                    <a:pt x="80" y="0"/>
                  </a:cubicBezTo>
                  <a:cubicBezTo>
                    <a:pt x="73" y="12"/>
                    <a:pt x="73" y="12"/>
                    <a:pt x="73" y="12"/>
                  </a:cubicBezTo>
                  <a:cubicBezTo>
                    <a:pt x="71" y="12"/>
                    <a:pt x="69" y="12"/>
                    <a:pt x="67" y="12"/>
                  </a:cubicBezTo>
                  <a:cubicBezTo>
                    <a:pt x="66" y="12"/>
                    <a:pt x="64" y="12"/>
                    <a:pt x="62" y="12"/>
                  </a:cubicBezTo>
                  <a:cubicBezTo>
                    <a:pt x="55" y="0"/>
                    <a:pt x="55" y="0"/>
                    <a:pt x="55" y="0"/>
                  </a:cubicBezTo>
                  <a:cubicBezTo>
                    <a:pt x="38" y="5"/>
                    <a:pt x="38" y="5"/>
                    <a:pt x="38" y="5"/>
                  </a:cubicBezTo>
                  <a:cubicBezTo>
                    <a:pt x="39" y="19"/>
                    <a:pt x="39" y="19"/>
                    <a:pt x="39" y="19"/>
                  </a:cubicBezTo>
                  <a:cubicBezTo>
                    <a:pt x="36" y="21"/>
                    <a:pt x="33" y="23"/>
                    <a:pt x="30" y="26"/>
                  </a:cubicBezTo>
                  <a:cubicBezTo>
                    <a:pt x="18" y="20"/>
                    <a:pt x="18" y="20"/>
                    <a:pt x="18" y="20"/>
                  </a:cubicBezTo>
                  <a:cubicBezTo>
                    <a:pt x="7" y="34"/>
                    <a:pt x="7" y="34"/>
                    <a:pt x="7" y="34"/>
                  </a:cubicBezTo>
                  <a:cubicBezTo>
                    <a:pt x="17" y="45"/>
                    <a:pt x="17" y="45"/>
                    <a:pt x="17" y="45"/>
                  </a:cubicBezTo>
                  <a:cubicBezTo>
                    <a:pt x="15" y="48"/>
                    <a:pt x="14" y="52"/>
                    <a:pt x="13" y="55"/>
                  </a:cubicBezTo>
                  <a:cubicBezTo>
                    <a:pt x="0" y="58"/>
                    <a:pt x="0" y="58"/>
                    <a:pt x="0" y="58"/>
                  </a:cubicBezTo>
                  <a:cubicBezTo>
                    <a:pt x="0" y="76"/>
                    <a:pt x="0" y="76"/>
                    <a:pt x="0" y="76"/>
                  </a:cubicBezTo>
                  <a:cubicBezTo>
                    <a:pt x="13" y="79"/>
                    <a:pt x="13" y="79"/>
                    <a:pt x="13" y="79"/>
                  </a:cubicBezTo>
                  <a:cubicBezTo>
                    <a:pt x="14" y="83"/>
                    <a:pt x="15" y="86"/>
                    <a:pt x="17" y="90"/>
                  </a:cubicBezTo>
                  <a:cubicBezTo>
                    <a:pt x="7" y="100"/>
                    <a:pt x="7" y="100"/>
                    <a:pt x="7" y="100"/>
                  </a:cubicBezTo>
                  <a:cubicBezTo>
                    <a:pt x="18" y="114"/>
                    <a:pt x="18" y="114"/>
                    <a:pt x="18" y="114"/>
                  </a:cubicBezTo>
                  <a:cubicBezTo>
                    <a:pt x="31" y="109"/>
                    <a:pt x="31" y="109"/>
                    <a:pt x="31" y="109"/>
                  </a:cubicBezTo>
                  <a:cubicBezTo>
                    <a:pt x="33" y="111"/>
                    <a:pt x="36" y="113"/>
                    <a:pt x="39" y="115"/>
                  </a:cubicBezTo>
                  <a:cubicBezTo>
                    <a:pt x="38" y="129"/>
                    <a:pt x="38" y="129"/>
                    <a:pt x="38" y="129"/>
                  </a:cubicBezTo>
                  <a:cubicBezTo>
                    <a:pt x="55" y="135"/>
                    <a:pt x="55" y="135"/>
                    <a:pt x="55" y="135"/>
                  </a:cubicBezTo>
                  <a:cubicBezTo>
                    <a:pt x="62" y="122"/>
                    <a:pt x="62" y="122"/>
                    <a:pt x="62" y="122"/>
                  </a:cubicBezTo>
                  <a:cubicBezTo>
                    <a:pt x="64" y="123"/>
                    <a:pt x="66" y="123"/>
                    <a:pt x="68" y="123"/>
                  </a:cubicBezTo>
                  <a:cubicBezTo>
                    <a:pt x="69" y="123"/>
                    <a:pt x="71" y="123"/>
                    <a:pt x="73" y="122"/>
                  </a:cubicBezTo>
                  <a:cubicBezTo>
                    <a:pt x="80" y="135"/>
                    <a:pt x="80" y="135"/>
                    <a:pt x="80" y="135"/>
                  </a:cubicBezTo>
                  <a:cubicBezTo>
                    <a:pt x="97" y="129"/>
                    <a:pt x="97" y="129"/>
                    <a:pt x="97" y="129"/>
                  </a:cubicBezTo>
                  <a:cubicBezTo>
                    <a:pt x="96" y="115"/>
                    <a:pt x="96" y="115"/>
                    <a:pt x="96" y="115"/>
                  </a:cubicBezTo>
                  <a:cubicBezTo>
                    <a:pt x="99" y="113"/>
                    <a:pt x="102" y="111"/>
                    <a:pt x="104" y="109"/>
                  </a:cubicBezTo>
                  <a:cubicBezTo>
                    <a:pt x="117" y="114"/>
                    <a:pt x="117" y="114"/>
                    <a:pt x="117" y="114"/>
                  </a:cubicBezTo>
                  <a:cubicBezTo>
                    <a:pt x="128" y="100"/>
                    <a:pt x="128" y="100"/>
                    <a:pt x="128" y="100"/>
                  </a:cubicBezTo>
                  <a:cubicBezTo>
                    <a:pt x="118" y="89"/>
                    <a:pt x="118" y="89"/>
                    <a:pt x="118" y="89"/>
                  </a:cubicBezTo>
                  <a:cubicBezTo>
                    <a:pt x="120" y="86"/>
                    <a:pt x="121" y="83"/>
                    <a:pt x="122" y="79"/>
                  </a:cubicBezTo>
                  <a:lnTo>
                    <a:pt x="135" y="76"/>
                  </a:lnTo>
                  <a:close/>
                  <a:moveTo>
                    <a:pt x="67" y="107"/>
                  </a:moveTo>
                  <a:cubicBezTo>
                    <a:pt x="46" y="107"/>
                    <a:pt x="28" y="89"/>
                    <a:pt x="28" y="67"/>
                  </a:cubicBezTo>
                  <a:cubicBezTo>
                    <a:pt x="28" y="45"/>
                    <a:pt x="46" y="27"/>
                    <a:pt x="67" y="27"/>
                  </a:cubicBezTo>
                  <a:cubicBezTo>
                    <a:pt x="89" y="27"/>
                    <a:pt x="107" y="45"/>
                    <a:pt x="107" y="67"/>
                  </a:cubicBezTo>
                  <a:cubicBezTo>
                    <a:pt x="107" y="89"/>
                    <a:pt x="89" y="107"/>
                    <a:pt x="67" y="107"/>
                  </a:cubicBezTo>
                  <a:close/>
                </a:path>
              </a:pathLst>
            </a:custGeom>
            <a:grpFill/>
            <a:ln>
              <a:noFill/>
            </a:ln>
          </p:spPr>
          <p:txBody>
            <a:bodyPr vert="horz" wrap="square" lIns="68564" tIns="34281" rIns="68564" bIns="34281" numCol="1" anchor="t" anchorCtr="0" compatLnSpc="1"/>
            <a:lstStyle/>
            <a:p>
              <a:endParaRPr lang="zh-CN" altLang="en-US" sz="15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grpSp>
        <p:nvGrpSpPr>
          <p:cNvPr id="72" name="Shape13"/>
          <p:cNvGrpSpPr/>
          <p:nvPr/>
        </p:nvGrpSpPr>
        <p:grpSpPr>
          <a:xfrm>
            <a:off x="1959424" y="1750761"/>
            <a:ext cx="387062" cy="370179"/>
            <a:chOff x="1004888" y="993775"/>
            <a:chExt cx="2438400" cy="2332038"/>
          </a:xfrm>
          <a:solidFill>
            <a:schemeClr val="bg1"/>
          </a:solidFill>
        </p:grpSpPr>
        <p:sp>
          <p:nvSpPr>
            <p:cNvPr id="1048849" name="Shape13"/>
            <p:cNvSpPr/>
            <p:nvPr/>
          </p:nvSpPr>
          <p:spPr bwMode="auto">
            <a:xfrm>
              <a:off x="1898651" y="2670175"/>
              <a:ext cx="655638" cy="655638"/>
            </a:xfrm>
            <a:custGeom>
              <a:avLst/>
              <a:gdLst>
                <a:gd name="T0" fmla="*/ 206 w 413"/>
                <a:gd name="T1" fmla="*/ 413 h 413"/>
                <a:gd name="T2" fmla="*/ 0 w 413"/>
                <a:gd name="T3" fmla="*/ 0 h 413"/>
                <a:gd name="T4" fmla="*/ 413 w 413"/>
                <a:gd name="T5" fmla="*/ 0 h 413"/>
                <a:gd name="T6" fmla="*/ 206 w 413"/>
                <a:gd name="T7" fmla="*/ 413 h 413"/>
              </a:gdLst>
              <a:ahLst/>
              <a:cxnLst>
                <a:cxn ang="0">
                  <a:pos x="T0" y="T1"/>
                </a:cxn>
                <a:cxn ang="0">
                  <a:pos x="T2" y="T3"/>
                </a:cxn>
                <a:cxn ang="0">
                  <a:pos x="T4" y="T5"/>
                </a:cxn>
                <a:cxn ang="0">
                  <a:pos x="T6" y="T7"/>
                </a:cxn>
              </a:cxnLst>
              <a:rect l="0" t="0" r="r" b="b"/>
              <a:pathLst>
                <a:path w="413" h="413">
                  <a:moveTo>
                    <a:pt x="206" y="413"/>
                  </a:moveTo>
                  <a:lnTo>
                    <a:pt x="0" y="0"/>
                  </a:lnTo>
                  <a:lnTo>
                    <a:pt x="413" y="0"/>
                  </a:lnTo>
                  <a:lnTo>
                    <a:pt x="206" y="413"/>
                  </a:lnTo>
                  <a:close/>
                </a:path>
              </a:pathLst>
            </a:custGeom>
            <a:grpFill/>
            <a:ln>
              <a:noFill/>
            </a:ln>
          </p:spPr>
          <p:txBody>
            <a:bodyPr vert="horz" wrap="square" lIns="68564" tIns="34281" rIns="68564" bIns="34281" numCol="1" anchor="t" anchorCtr="0" compatLnSpc="1"/>
            <a:lstStyle/>
            <a:p>
              <a:endParaRPr lang="zh-CN" altLang="en-US" sz="15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50" name="Shape13"/>
            <p:cNvSpPr>
              <a:spLocks noChangeArrowheads="1"/>
            </p:cNvSpPr>
            <p:nvPr/>
          </p:nvSpPr>
          <p:spPr bwMode="auto">
            <a:xfrm>
              <a:off x="1004888" y="993775"/>
              <a:ext cx="2438400" cy="1774825"/>
            </a:xfrm>
            <a:custGeom>
              <a:avLst/>
              <a:gdLst>
                <a:gd name="connsiteX0" fmla="*/ 290196 w 2438400"/>
                <a:gd name="connsiteY0" fmla="*/ 0 h 1774825"/>
                <a:gd name="connsiteX1" fmla="*/ 2151973 w 2438400"/>
                <a:gd name="connsiteY1" fmla="*/ 0 h 1774825"/>
                <a:gd name="connsiteX2" fmla="*/ 2438400 w 2438400"/>
                <a:gd name="connsiteY2" fmla="*/ 286384 h 1774825"/>
                <a:gd name="connsiteX3" fmla="*/ 2438400 w 2438400"/>
                <a:gd name="connsiteY3" fmla="*/ 1484673 h 1774825"/>
                <a:gd name="connsiteX4" fmla="*/ 2151973 w 2438400"/>
                <a:gd name="connsiteY4" fmla="*/ 1774825 h 1774825"/>
                <a:gd name="connsiteX5" fmla="*/ 290196 w 2438400"/>
                <a:gd name="connsiteY5" fmla="*/ 1774825 h 1774825"/>
                <a:gd name="connsiteX6" fmla="*/ 0 w 2438400"/>
                <a:gd name="connsiteY6" fmla="*/ 1484673 h 1774825"/>
                <a:gd name="connsiteX7" fmla="*/ 0 w 2438400"/>
                <a:gd name="connsiteY7" fmla="*/ 286384 h 1774825"/>
                <a:gd name="connsiteX8" fmla="*/ 290196 w 2438400"/>
                <a:gd name="connsiteY8" fmla="*/ 0 h 1774825"/>
                <a:gd name="connsiteX9" fmla="*/ 471488 w 2438400"/>
                <a:gd name="connsiteY9" fmla="*/ 425450 h 1774825"/>
                <a:gd name="connsiteX10" fmla="*/ 471488 w 2438400"/>
                <a:gd name="connsiteY10" fmla="*/ 598488 h 1774825"/>
                <a:gd name="connsiteX11" fmla="*/ 1971676 w 2438400"/>
                <a:gd name="connsiteY11" fmla="*/ 598488 h 1774825"/>
                <a:gd name="connsiteX12" fmla="*/ 1971676 w 2438400"/>
                <a:gd name="connsiteY12" fmla="*/ 425450 h 1774825"/>
                <a:gd name="connsiteX13" fmla="*/ 471488 w 2438400"/>
                <a:gd name="connsiteY13" fmla="*/ 425450 h 1774825"/>
                <a:gd name="connsiteX14" fmla="*/ 471488 w 2438400"/>
                <a:gd name="connsiteY14" fmla="*/ 801688 h 1774825"/>
                <a:gd name="connsiteX15" fmla="*/ 471488 w 2438400"/>
                <a:gd name="connsiteY15" fmla="*/ 971551 h 1774825"/>
                <a:gd name="connsiteX16" fmla="*/ 1971676 w 2438400"/>
                <a:gd name="connsiteY16" fmla="*/ 971551 h 1774825"/>
                <a:gd name="connsiteX17" fmla="*/ 1971676 w 2438400"/>
                <a:gd name="connsiteY17" fmla="*/ 801688 h 1774825"/>
                <a:gd name="connsiteX18" fmla="*/ 471488 w 2438400"/>
                <a:gd name="connsiteY18" fmla="*/ 801688 h 1774825"/>
                <a:gd name="connsiteX19" fmla="*/ 471488 w 2438400"/>
                <a:gd name="connsiteY19" fmla="*/ 1174750 h 1774825"/>
                <a:gd name="connsiteX20" fmla="*/ 471488 w 2438400"/>
                <a:gd name="connsiteY20" fmla="*/ 1347788 h 1774825"/>
                <a:gd name="connsiteX21" fmla="*/ 1971676 w 2438400"/>
                <a:gd name="connsiteY21" fmla="*/ 1347788 h 1774825"/>
                <a:gd name="connsiteX22" fmla="*/ 1971676 w 2438400"/>
                <a:gd name="connsiteY22" fmla="*/ 1174750 h 1774825"/>
                <a:gd name="connsiteX23" fmla="*/ 471488 w 2438400"/>
                <a:gd name="connsiteY23" fmla="*/ 1174750 h 177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38400" h="1774825">
                  <a:moveTo>
                    <a:pt x="290196" y="0"/>
                  </a:moveTo>
                  <a:cubicBezTo>
                    <a:pt x="2151973" y="0"/>
                    <a:pt x="2151973" y="0"/>
                    <a:pt x="2151973" y="0"/>
                  </a:cubicBezTo>
                  <a:cubicBezTo>
                    <a:pt x="2310262" y="0"/>
                    <a:pt x="2438400" y="128119"/>
                    <a:pt x="2438400" y="286384"/>
                  </a:cubicBezTo>
                  <a:lnTo>
                    <a:pt x="2438400" y="1484673"/>
                  </a:lnTo>
                  <a:cubicBezTo>
                    <a:pt x="2438400" y="1646706"/>
                    <a:pt x="2310262" y="1774825"/>
                    <a:pt x="2151973" y="1774825"/>
                  </a:cubicBezTo>
                  <a:cubicBezTo>
                    <a:pt x="290196" y="1774825"/>
                    <a:pt x="290196" y="1774825"/>
                    <a:pt x="290196" y="1774825"/>
                  </a:cubicBezTo>
                  <a:cubicBezTo>
                    <a:pt x="131907" y="1774825"/>
                    <a:pt x="0" y="1646706"/>
                    <a:pt x="0" y="1484673"/>
                  </a:cubicBezTo>
                  <a:cubicBezTo>
                    <a:pt x="0" y="286384"/>
                    <a:pt x="0" y="286384"/>
                    <a:pt x="0" y="286384"/>
                  </a:cubicBezTo>
                  <a:cubicBezTo>
                    <a:pt x="0" y="128119"/>
                    <a:pt x="131907" y="0"/>
                    <a:pt x="290196" y="0"/>
                  </a:cubicBezTo>
                  <a:close/>
                  <a:moveTo>
                    <a:pt x="471488" y="425450"/>
                  </a:moveTo>
                  <a:lnTo>
                    <a:pt x="471488" y="598488"/>
                  </a:lnTo>
                  <a:lnTo>
                    <a:pt x="1971676" y="598488"/>
                  </a:lnTo>
                  <a:lnTo>
                    <a:pt x="1971676" y="425450"/>
                  </a:lnTo>
                  <a:lnTo>
                    <a:pt x="471488" y="425450"/>
                  </a:lnTo>
                  <a:close/>
                  <a:moveTo>
                    <a:pt x="471488" y="801688"/>
                  </a:moveTo>
                  <a:lnTo>
                    <a:pt x="471488" y="971551"/>
                  </a:lnTo>
                  <a:lnTo>
                    <a:pt x="1971676" y="971551"/>
                  </a:lnTo>
                  <a:lnTo>
                    <a:pt x="1971676" y="801688"/>
                  </a:lnTo>
                  <a:lnTo>
                    <a:pt x="471488" y="801688"/>
                  </a:lnTo>
                  <a:close/>
                  <a:moveTo>
                    <a:pt x="471488" y="1174750"/>
                  </a:moveTo>
                  <a:lnTo>
                    <a:pt x="471488" y="1347788"/>
                  </a:lnTo>
                  <a:lnTo>
                    <a:pt x="1971676" y="1347788"/>
                  </a:lnTo>
                  <a:lnTo>
                    <a:pt x="1971676" y="1174750"/>
                  </a:lnTo>
                  <a:lnTo>
                    <a:pt x="471488" y="1174750"/>
                  </a:lnTo>
                  <a:close/>
                </a:path>
              </a:pathLst>
            </a:custGeom>
            <a:grpFill/>
            <a:ln>
              <a:noFill/>
            </a:ln>
          </p:spPr>
          <p:txBody>
            <a:bodyPr vert="horz" wrap="square" lIns="68564" tIns="34281" rIns="68564" bIns="34281" numCol="1" anchor="t" anchorCtr="0" compatLnSpc="1">
              <a:noAutofit/>
            </a:bodyPr>
            <a:lstStyle/>
            <a:p>
              <a:endParaRPr lang="zh-CN" altLang="en-US" sz="15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grpSp>
        <p:nvGrpSpPr>
          <p:cNvPr id="73" name="Shape14"/>
          <p:cNvGrpSpPr/>
          <p:nvPr/>
        </p:nvGrpSpPr>
        <p:grpSpPr>
          <a:xfrm>
            <a:off x="6835424" y="1673601"/>
            <a:ext cx="336095" cy="429825"/>
            <a:chOff x="1605186" y="572440"/>
            <a:chExt cx="563562" cy="720725"/>
          </a:xfrm>
          <a:solidFill>
            <a:schemeClr val="bg1"/>
          </a:solidFill>
        </p:grpSpPr>
        <p:sp>
          <p:nvSpPr>
            <p:cNvPr id="1048851" name="Shape14"/>
            <p:cNvSpPr/>
            <p:nvPr/>
          </p:nvSpPr>
          <p:spPr bwMode="auto">
            <a:xfrm>
              <a:off x="1814736" y="572440"/>
              <a:ext cx="142875" cy="720725"/>
            </a:xfrm>
            <a:custGeom>
              <a:avLst/>
              <a:gdLst>
                <a:gd name="T0" fmla="*/ 64 w 64"/>
                <a:gd name="T1" fmla="*/ 289 h 321"/>
                <a:gd name="T2" fmla="*/ 32 w 64"/>
                <a:gd name="T3" fmla="*/ 321 h 321"/>
                <a:gd name="T4" fmla="*/ 0 w 64"/>
                <a:gd name="T5" fmla="*/ 289 h 321"/>
                <a:gd name="T6" fmla="*/ 0 w 64"/>
                <a:gd name="T7" fmla="*/ 32 h 321"/>
                <a:gd name="T8" fmla="*/ 32 w 64"/>
                <a:gd name="T9" fmla="*/ 0 h 321"/>
                <a:gd name="T10" fmla="*/ 64 w 64"/>
                <a:gd name="T11" fmla="*/ 32 h 321"/>
                <a:gd name="T12" fmla="*/ 64 w 64"/>
                <a:gd name="T13" fmla="*/ 289 h 321"/>
              </a:gdLst>
              <a:ahLst/>
              <a:cxnLst>
                <a:cxn ang="0">
                  <a:pos x="T0" y="T1"/>
                </a:cxn>
                <a:cxn ang="0">
                  <a:pos x="T2" y="T3"/>
                </a:cxn>
                <a:cxn ang="0">
                  <a:pos x="T4" y="T5"/>
                </a:cxn>
                <a:cxn ang="0">
                  <a:pos x="T6" y="T7"/>
                </a:cxn>
                <a:cxn ang="0">
                  <a:pos x="T8" y="T9"/>
                </a:cxn>
                <a:cxn ang="0">
                  <a:pos x="T10" y="T11"/>
                </a:cxn>
                <a:cxn ang="0">
                  <a:pos x="T12" y="T13"/>
                </a:cxn>
              </a:cxnLst>
              <a:rect l="0" t="0" r="r" b="b"/>
              <a:pathLst>
                <a:path w="64" h="321">
                  <a:moveTo>
                    <a:pt x="64" y="289"/>
                  </a:moveTo>
                  <a:cubicBezTo>
                    <a:pt x="64" y="307"/>
                    <a:pt x="49" y="321"/>
                    <a:pt x="32" y="321"/>
                  </a:cubicBezTo>
                  <a:cubicBezTo>
                    <a:pt x="14" y="321"/>
                    <a:pt x="0" y="307"/>
                    <a:pt x="0" y="289"/>
                  </a:cubicBezTo>
                  <a:cubicBezTo>
                    <a:pt x="0" y="32"/>
                    <a:pt x="0" y="32"/>
                    <a:pt x="0" y="32"/>
                  </a:cubicBezTo>
                  <a:cubicBezTo>
                    <a:pt x="0" y="14"/>
                    <a:pt x="14" y="0"/>
                    <a:pt x="32" y="0"/>
                  </a:cubicBezTo>
                  <a:cubicBezTo>
                    <a:pt x="49" y="0"/>
                    <a:pt x="64" y="14"/>
                    <a:pt x="64" y="32"/>
                  </a:cubicBezTo>
                  <a:lnTo>
                    <a:pt x="64" y="289"/>
                  </a:lnTo>
                  <a:close/>
                </a:path>
              </a:pathLst>
            </a:custGeom>
            <a:grpFill/>
            <a:ln>
              <a:noFill/>
            </a:ln>
          </p:spPr>
          <p:txBody>
            <a:bodyPr vert="horz" wrap="square" lIns="68564" tIns="34281" rIns="68564" bIns="34281" numCol="1" anchor="t" anchorCtr="0" compatLnSpc="1"/>
            <a:lstStyle/>
            <a:p>
              <a:endParaRPr lang="zh-CN" altLang="en-US" sz="1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52" name="Shape14"/>
            <p:cNvSpPr/>
            <p:nvPr/>
          </p:nvSpPr>
          <p:spPr bwMode="auto">
            <a:xfrm>
              <a:off x="1605186" y="1012177"/>
              <a:ext cx="141288" cy="280988"/>
            </a:xfrm>
            <a:custGeom>
              <a:avLst/>
              <a:gdLst>
                <a:gd name="T0" fmla="*/ 63 w 63"/>
                <a:gd name="T1" fmla="*/ 93 h 125"/>
                <a:gd name="T2" fmla="*/ 32 w 63"/>
                <a:gd name="T3" fmla="*/ 125 h 125"/>
                <a:gd name="T4" fmla="*/ 0 w 63"/>
                <a:gd name="T5" fmla="*/ 93 h 125"/>
                <a:gd name="T6" fmla="*/ 0 w 63"/>
                <a:gd name="T7" fmla="*/ 32 h 125"/>
                <a:gd name="T8" fmla="*/ 32 w 63"/>
                <a:gd name="T9" fmla="*/ 0 h 125"/>
                <a:gd name="T10" fmla="*/ 63 w 63"/>
                <a:gd name="T11" fmla="*/ 32 h 125"/>
                <a:gd name="T12" fmla="*/ 63 w 63"/>
                <a:gd name="T13" fmla="*/ 93 h 125"/>
              </a:gdLst>
              <a:ahLst/>
              <a:cxnLst>
                <a:cxn ang="0">
                  <a:pos x="T0" y="T1"/>
                </a:cxn>
                <a:cxn ang="0">
                  <a:pos x="T2" y="T3"/>
                </a:cxn>
                <a:cxn ang="0">
                  <a:pos x="T4" y="T5"/>
                </a:cxn>
                <a:cxn ang="0">
                  <a:pos x="T6" y="T7"/>
                </a:cxn>
                <a:cxn ang="0">
                  <a:pos x="T8" y="T9"/>
                </a:cxn>
                <a:cxn ang="0">
                  <a:pos x="T10" y="T11"/>
                </a:cxn>
                <a:cxn ang="0">
                  <a:pos x="T12" y="T13"/>
                </a:cxn>
              </a:cxnLst>
              <a:rect l="0" t="0" r="r" b="b"/>
              <a:pathLst>
                <a:path w="63" h="125">
                  <a:moveTo>
                    <a:pt x="63" y="93"/>
                  </a:moveTo>
                  <a:cubicBezTo>
                    <a:pt x="63" y="111"/>
                    <a:pt x="49" y="125"/>
                    <a:pt x="32" y="125"/>
                  </a:cubicBezTo>
                  <a:cubicBezTo>
                    <a:pt x="14" y="125"/>
                    <a:pt x="0" y="111"/>
                    <a:pt x="0" y="93"/>
                  </a:cubicBezTo>
                  <a:cubicBezTo>
                    <a:pt x="0" y="32"/>
                    <a:pt x="0" y="32"/>
                    <a:pt x="0" y="32"/>
                  </a:cubicBezTo>
                  <a:cubicBezTo>
                    <a:pt x="0" y="14"/>
                    <a:pt x="14" y="0"/>
                    <a:pt x="32" y="0"/>
                  </a:cubicBezTo>
                  <a:cubicBezTo>
                    <a:pt x="49" y="0"/>
                    <a:pt x="63" y="14"/>
                    <a:pt x="63" y="32"/>
                  </a:cubicBezTo>
                  <a:lnTo>
                    <a:pt x="63" y="93"/>
                  </a:lnTo>
                  <a:close/>
                </a:path>
              </a:pathLst>
            </a:custGeom>
            <a:grpFill/>
            <a:ln>
              <a:noFill/>
            </a:ln>
          </p:spPr>
          <p:txBody>
            <a:bodyPr vert="horz" wrap="square" lIns="68564" tIns="34281" rIns="68564" bIns="34281" numCol="1" anchor="t" anchorCtr="0" compatLnSpc="1"/>
            <a:lstStyle/>
            <a:p>
              <a:endParaRPr lang="zh-CN" altLang="en-US" sz="1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53" name="Shape14"/>
            <p:cNvSpPr/>
            <p:nvPr/>
          </p:nvSpPr>
          <p:spPr bwMode="auto">
            <a:xfrm>
              <a:off x="2025873" y="804215"/>
              <a:ext cx="142875" cy="488950"/>
            </a:xfrm>
            <a:custGeom>
              <a:avLst/>
              <a:gdLst>
                <a:gd name="T0" fmla="*/ 64 w 64"/>
                <a:gd name="T1" fmla="*/ 186 h 218"/>
                <a:gd name="T2" fmla="*/ 32 w 64"/>
                <a:gd name="T3" fmla="*/ 218 h 218"/>
                <a:gd name="T4" fmla="*/ 0 w 64"/>
                <a:gd name="T5" fmla="*/ 186 h 218"/>
                <a:gd name="T6" fmla="*/ 0 w 64"/>
                <a:gd name="T7" fmla="*/ 32 h 218"/>
                <a:gd name="T8" fmla="*/ 32 w 64"/>
                <a:gd name="T9" fmla="*/ 0 h 218"/>
                <a:gd name="T10" fmla="*/ 64 w 64"/>
                <a:gd name="T11" fmla="*/ 32 h 218"/>
                <a:gd name="T12" fmla="*/ 64 w 64"/>
                <a:gd name="T13" fmla="*/ 186 h 218"/>
              </a:gdLst>
              <a:ahLst/>
              <a:cxnLst>
                <a:cxn ang="0">
                  <a:pos x="T0" y="T1"/>
                </a:cxn>
                <a:cxn ang="0">
                  <a:pos x="T2" y="T3"/>
                </a:cxn>
                <a:cxn ang="0">
                  <a:pos x="T4" y="T5"/>
                </a:cxn>
                <a:cxn ang="0">
                  <a:pos x="T6" y="T7"/>
                </a:cxn>
                <a:cxn ang="0">
                  <a:pos x="T8" y="T9"/>
                </a:cxn>
                <a:cxn ang="0">
                  <a:pos x="T10" y="T11"/>
                </a:cxn>
                <a:cxn ang="0">
                  <a:pos x="T12" y="T13"/>
                </a:cxn>
              </a:cxnLst>
              <a:rect l="0" t="0" r="r" b="b"/>
              <a:pathLst>
                <a:path w="64" h="218">
                  <a:moveTo>
                    <a:pt x="64" y="186"/>
                  </a:moveTo>
                  <a:cubicBezTo>
                    <a:pt x="64" y="204"/>
                    <a:pt x="49" y="218"/>
                    <a:pt x="32" y="218"/>
                  </a:cubicBezTo>
                  <a:cubicBezTo>
                    <a:pt x="14" y="218"/>
                    <a:pt x="0" y="204"/>
                    <a:pt x="0" y="186"/>
                  </a:cubicBezTo>
                  <a:cubicBezTo>
                    <a:pt x="0" y="32"/>
                    <a:pt x="0" y="32"/>
                    <a:pt x="0" y="32"/>
                  </a:cubicBezTo>
                  <a:cubicBezTo>
                    <a:pt x="0" y="14"/>
                    <a:pt x="14" y="0"/>
                    <a:pt x="32" y="0"/>
                  </a:cubicBezTo>
                  <a:cubicBezTo>
                    <a:pt x="49" y="0"/>
                    <a:pt x="64" y="14"/>
                    <a:pt x="64" y="32"/>
                  </a:cubicBezTo>
                  <a:lnTo>
                    <a:pt x="64" y="186"/>
                  </a:lnTo>
                  <a:close/>
                </a:path>
              </a:pathLst>
            </a:custGeom>
            <a:grpFill/>
            <a:ln>
              <a:noFill/>
            </a:ln>
          </p:spPr>
          <p:txBody>
            <a:bodyPr vert="horz" wrap="square" lIns="68564" tIns="34281" rIns="68564" bIns="34281" numCol="1" anchor="t" anchorCtr="0" compatLnSpc="1"/>
            <a:lstStyle/>
            <a:p>
              <a:endParaRPr lang="zh-CN" altLang="en-US" sz="1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sp>
        <p:nvSpPr>
          <p:cNvPr id="1048855" name="Shape15"/>
          <p:cNvSpPr txBox="1"/>
          <p:nvPr>
            <p:custDataLst>
              <p:tags r:id="rId1"/>
            </p:custDataLst>
          </p:nvPr>
        </p:nvSpPr>
        <p:spPr>
          <a:xfrm>
            <a:off x="3554730" y="1654969"/>
            <a:ext cx="2034540" cy="818515"/>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lnSpc>
                <a:spcPct val="150000"/>
              </a:lnSpc>
            </a:pPr>
            <a:r>
              <a:rPr lang="zh-CN" altLang="en-US" sz="105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故意行为、战争暴乱等、核爆炸等、大气污染等、行政司法行为、地震海啸、盗窃、抢劫。</a:t>
            </a:r>
            <a:endParaRPr lang="zh-CN" altLang="en-US" sz="105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57" name="Shape16"/>
          <p:cNvSpPr txBox="1"/>
          <p:nvPr>
            <p:custDataLst>
              <p:tags r:id="rId2"/>
            </p:custDataLst>
          </p:nvPr>
        </p:nvSpPr>
        <p:spPr>
          <a:xfrm>
            <a:off x="980440" y="2858770"/>
            <a:ext cx="2413635" cy="1219835"/>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lnSpc>
                <a:spcPct val="150000"/>
              </a:lnSpc>
            </a:pPr>
            <a:r>
              <a:rPr lang="zh-CN" altLang="en-US" sz="975"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特种设备不合格、特种设备测试、应当报废的、特种设备操作人员无证操作、未通过检验特种设备、严重缺陷未改善特种设备、盗用伪造检验报告结果、非自有非托管非法制造气瓶充装。</a:t>
            </a:r>
            <a:endParaRPr lang="zh-CN" altLang="en-US" sz="975"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59" name="Shape17"/>
          <p:cNvSpPr txBox="1"/>
          <p:nvPr>
            <p:custDataLst>
              <p:tags r:id="rId3"/>
            </p:custDataLst>
          </p:nvPr>
        </p:nvSpPr>
        <p:spPr>
          <a:xfrm>
            <a:off x="5905024" y="2757488"/>
            <a:ext cx="2193131" cy="818515"/>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lnSpc>
                <a:spcPct val="150000"/>
              </a:lnSpc>
            </a:pPr>
            <a:r>
              <a:rPr lang="zh-CN" altLang="en-US" sz="105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被保险人雇员造成的人身伤亡财产损失、罚款罚金、精神损害、间接损失。</a:t>
            </a:r>
            <a:endParaRPr lang="zh-CN" altLang="en-US" sz="105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7" name="文本框 6"/>
          <p:cNvSpPr txBox="1"/>
          <p:nvPr>
            <p:custDataLst>
              <p:tags r:id="rId4"/>
            </p:custDataLst>
          </p:nvPr>
        </p:nvSpPr>
        <p:spPr>
          <a:xfrm>
            <a:off x="5641975" y="4231005"/>
            <a:ext cx="3490595" cy="306705"/>
          </a:xfrm>
          <a:prstGeom prst="rect">
            <a:avLst/>
          </a:prstGeom>
          <a:noFill/>
        </p:spPr>
        <p:txBody>
          <a:bodyPr wrap="square" rtlCol="0" anchor="t">
            <a:spAutoFit/>
          </a:bodyPr>
          <a:p>
            <a:r>
              <a:rPr lang="zh-CN" altLang="en-US" sz="1400" dirty="0">
                <a:solidFill>
                  <a:srgbClr val="FF0000"/>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详细责任免除内容以条款为准）</a:t>
            </a:r>
            <a:endParaRPr lang="zh-CN" altLang="en-US" sz="1400" dirty="0">
              <a:solidFill>
                <a:srgbClr val="FF0000"/>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8" name="Shape9"/>
          <p:cNvSpPr txBox="1"/>
          <p:nvPr>
            <p:custDataLst>
              <p:tags r:id="rId5"/>
            </p:custDataLst>
          </p:nvPr>
        </p:nvSpPr>
        <p:spPr>
          <a:xfrm>
            <a:off x="954405" y="2159000"/>
            <a:ext cx="2466340" cy="275590"/>
          </a:xfrm>
          <a:prstGeom prst="rect">
            <a:avLst/>
          </a:prstGeom>
          <a:noFill/>
          <a:effectLst/>
        </p:spPr>
        <p:txBody>
          <a:bodyPr wrap="square" rtlCol="0">
            <a:spAutoFit/>
          </a:bodyPr>
          <a:p>
            <a:pPr algn="ctr"/>
            <a:r>
              <a:rPr lang="zh-CN" altLang="en-US" sz="12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任一情形责任免除</a:t>
            </a:r>
            <a:endParaRPr lang="zh-CN" altLang="en-US" sz="12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Tree>
  </p:cSld>
  <p:clrMapOvr>
    <a:masterClrMapping/>
  </p:clrMapOvr>
  <p:timing>
    <p:tnLst>
      <p:par>
        <p:cTn id="1" dur="indefinite" restart="never" nodeType="tmRoot"/>
      </p:par>
    </p:tnLst>
    <p:bldLst>
      <p:bldP spid="1048841" grpId="0" bldLvl="0" animBg="1"/>
      <p:bldP spid="1048842" grpId="0" bldLvl="0" animBg="1"/>
      <p:bldP spid="1048843" grpId="0" bldLvl="0" animBg="1"/>
      <p:bldP spid="1048845" grpId="0" bldLvl="0" animBg="1"/>
      <p:bldP spid="1048846" grpId="0" bldLvl="0" animBg="1"/>
      <p:bldP spid="8" grpId="0" bldLvl="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Shape4"/>
          <p:cNvGrpSpPr/>
          <p:nvPr/>
        </p:nvGrpSpPr>
        <p:grpSpPr>
          <a:xfrm>
            <a:off x="299618" y="412859"/>
            <a:ext cx="824633" cy="144001"/>
            <a:chOff x="7922707" y="4563003"/>
            <a:chExt cx="824632" cy="144000"/>
          </a:xfrm>
        </p:grpSpPr>
        <p:sp>
          <p:nvSpPr>
            <p:cNvPr id="1048758" name="Shape4"/>
            <p:cNvSpPr/>
            <p:nvPr>
              <p:custDataLst>
                <p:tags r:id="rId1"/>
              </p:custDataLst>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59" name="Shape4"/>
            <p:cNvSpPr/>
            <p:nvPr>
              <p:custDataLst>
                <p:tags r:id="rId2"/>
              </p:custDataLst>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60" name="Shape4"/>
            <p:cNvSpPr/>
            <p:nvPr>
              <p:custDataLst>
                <p:tags r:id="rId3"/>
              </p:custDataLst>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42" name="Shape4"/>
            <p:cNvCxnSpPr/>
            <p:nvPr>
              <p:custDataLst>
                <p:tags r:id="rId4"/>
              </p:custDataLst>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43" name="Shape4"/>
            <p:cNvCxnSpPr/>
            <p:nvPr>
              <p:custDataLst>
                <p:tags r:id="rId5"/>
              </p:custDataLst>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761" name="Shape5"/>
          <p:cNvSpPr txBox="1"/>
          <p:nvPr>
            <p:custDataLst>
              <p:tags r:id="rId6"/>
            </p:custDataLst>
          </p:nvPr>
        </p:nvSpPr>
        <p:spPr>
          <a:xfrm>
            <a:off x="1150620" y="346075"/>
            <a:ext cx="3715385"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平安财险</a:t>
            </a:r>
            <a:r>
              <a:rPr lang="en-US" altLang="zh-CN" sz="1500" dirty="0">
                <a:latin typeface="微软雅黑" panose="020B0503020204020204" charset="-122"/>
                <a:ea typeface="微软雅黑" panose="020B0503020204020204" charset="-122"/>
                <a:sym typeface="汉仪旗黑X1-55W" panose="00020600040101010101" pitchFamily="18" charset="-122"/>
              </a:rPr>
              <a:t>--</a:t>
            </a:r>
            <a:r>
              <a:rPr lang="zh-CN" altLang="en-US" sz="1500" dirty="0">
                <a:latin typeface="微软雅黑" panose="020B0503020204020204" charset="-122"/>
                <a:ea typeface="微软雅黑" panose="020B0503020204020204" charset="-122"/>
                <a:sym typeface="汉仪旗黑X1-55W" panose="00020600040101010101" pitchFamily="18" charset="-122"/>
              </a:rPr>
              <a:t>商用家财险保险方案</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graphicFrame>
        <p:nvGraphicFramePr>
          <p:cNvPr id="2" name="表格 1"/>
          <p:cNvGraphicFramePr/>
          <p:nvPr>
            <p:custDataLst>
              <p:tags r:id="rId7"/>
            </p:custDataLst>
          </p:nvPr>
        </p:nvGraphicFramePr>
        <p:xfrm>
          <a:off x="387350" y="959485"/>
          <a:ext cx="8362315" cy="2613660"/>
        </p:xfrm>
        <a:graphic>
          <a:graphicData uri="http://schemas.openxmlformats.org/drawingml/2006/table">
            <a:tbl>
              <a:tblPr/>
              <a:tblGrid>
                <a:gridCol w="2437765"/>
                <a:gridCol w="1671320"/>
                <a:gridCol w="887730"/>
                <a:gridCol w="2357755"/>
                <a:gridCol w="1007745"/>
              </a:tblGrid>
              <a:tr h="373380">
                <a:tc>
                  <a:txBody>
                    <a:bodyPr/>
                    <a:p>
                      <a:pPr algn="ctr">
                        <a:buNone/>
                      </a:pPr>
                      <a:r>
                        <a:rPr lang="zh-CN" sz="1200" b="1">
                          <a:solidFill>
                            <a:srgbClr val="000000"/>
                          </a:solidFill>
                          <a:latin typeface="Arial" panose="020B0604020202020204" pitchFamily="34" charset="0"/>
                          <a:ea typeface="微软雅黑" panose="020B0503020204020204" charset="-122"/>
                        </a:rPr>
                        <a:t>险种</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200" b="1">
                          <a:solidFill>
                            <a:srgbClr val="000000"/>
                          </a:solidFill>
                          <a:latin typeface="Arial" panose="020B0604020202020204" pitchFamily="34" charset="0"/>
                          <a:ea typeface="微软雅黑" panose="020B0503020204020204" charset="-122"/>
                        </a:rPr>
                        <a:t>责任</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200" b="1">
                          <a:solidFill>
                            <a:srgbClr val="000000"/>
                          </a:solidFill>
                          <a:latin typeface="Arial" panose="020B0604020202020204" pitchFamily="34" charset="0"/>
                          <a:ea typeface="微软雅黑" panose="020B0503020204020204" charset="-122"/>
                        </a:rPr>
                        <a:t>保额</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200" b="1">
                          <a:solidFill>
                            <a:srgbClr val="000000"/>
                          </a:solidFill>
                          <a:latin typeface="Arial" panose="020B0604020202020204" pitchFamily="34" charset="0"/>
                          <a:ea typeface="微软雅黑" panose="020B0503020204020204" charset="-122"/>
                        </a:rPr>
                        <a:t>责任管理</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200" b="1">
                          <a:solidFill>
                            <a:srgbClr val="000000"/>
                          </a:solidFill>
                          <a:latin typeface="Arial" panose="020B0604020202020204" pitchFamily="34" charset="0"/>
                          <a:ea typeface="微软雅黑" panose="020B0503020204020204" charset="-122"/>
                        </a:rPr>
                        <a:t>保费</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73380">
                <a:tc>
                  <a:txBody>
                    <a:bodyPr/>
                    <a:p>
                      <a:pPr algn="ctr">
                        <a:buNone/>
                      </a:pPr>
                      <a:r>
                        <a:rPr lang="zh-CN" sz="1200" b="1">
                          <a:solidFill>
                            <a:srgbClr val="000000"/>
                          </a:solidFill>
                          <a:latin typeface="Arial" panose="020B0604020202020204" pitchFamily="34" charset="0"/>
                          <a:ea typeface="微软雅黑" panose="020B0503020204020204" charset="-122"/>
                        </a:rPr>
                        <a:t>平安民用燃气家庭财产保险</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200" b="1">
                          <a:solidFill>
                            <a:srgbClr val="000000"/>
                          </a:solidFill>
                          <a:latin typeface="Arial" panose="020B0604020202020204" pitchFamily="34" charset="0"/>
                          <a:ea typeface="微软雅黑" panose="020B0503020204020204" charset="-122"/>
                        </a:rPr>
                        <a:t>家庭财产损失</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en-US" sz="1200" b="1">
                          <a:solidFill>
                            <a:srgbClr val="000000"/>
                          </a:solidFill>
                          <a:latin typeface="微软雅黑" panose="020B0503020204020204" charset="-122"/>
                        </a:rPr>
                        <a:t>400000</a:t>
                      </a:r>
                      <a:endParaRPr lang="en-US" altLang="en-US" sz="12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200" b="1">
                          <a:solidFill>
                            <a:srgbClr val="000000"/>
                          </a:solidFill>
                          <a:latin typeface="Arial" panose="020B0604020202020204" pitchFamily="34" charset="0"/>
                          <a:ea typeface="微软雅黑" panose="020B0503020204020204" charset="-122"/>
                        </a:rPr>
                        <a:t>每次事故免赔额200元</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6">
                  <a:txBody>
                    <a:bodyPr/>
                    <a:p>
                      <a:pPr algn="ctr">
                        <a:buNone/>
                      </a:pPr>
                      <a:r>
                        <a:rPr lang="zh-CN" sz="1200" b="1">
                          <a:solidFill>
                            <a:srgbClr val="000000"/>
                          </a:solidFill>
                          <a:latin typeface="Arial" panose="020B0604020202020204" pitchFamily="34" charset="0"/>
                          <a:ea typeface="微软雅黑" panose="020B0503020204020204" charset="-122"/>
                        </a:rPr>
                        <a:t>500元</a:t>
                      </a:r>
                      <a:r>
                        <a:rPr lang="en-US" altLang="zh-CN" sz="1200" b="1">
                          <a:solidFill>
                            <a:srgbClr val="000000"/>
                          </a:solidFill>
                          <a:latin typeface="Arial" panose="020B0604020202020204" pitchFamily="34" charset="0"/>
                          <a:ea typeface="微软雅黑" panose="020B0503020204020204" charset="-122"/>
                        </a:rPr>
                        <a:t>/</a:t>
                      </a:r>
                      <a:r>
                        <a:rPr lang="zh-CN" sz="1200" b="1">
                          <a:solidFill>
                            <a:srgbClr val="000000"/>
                          </a:solidFill>
                          <a:latin typeface="Arial" panose="020B0604020202020204" pitchFamily="34" charset="0"/>
                          <a:ea typeface="微软雅黑" panose="020B0503020204020204" charset="-122"/>
                        </a:rPr>
                        <a:t>户</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73380">
                <a:tc rowSpan="2">
                  <a:txBody>
                    <a:bodyPr/>
                    <a:p>
                      <a:pPr algn="ctr">
                        <a:buNone/>
                      </a:pPr>
                      <a:r>
                        <a:rPr lang="zh-CN" sz="1200" b="1">
                          <a:solidFill>
                            <a:srgbClr val="000000"/>
                          </a:solidFill>
                          <a:latin typeface="Arial" panose="020B0604020202020204" pitchFamily="34" charset="0"/>
                          <a:ea typeface="微软雅黑" panose="020B0503020204020204" charset="-122"/>
                        </a:rPr>
                        <a:t>平安产险燃气用户意外伤害保险</a:t>
                      </a:r>
                      <a:endParaRPr lang="zh-CN" sz="1200" b="1">
                        <a:solidFill>
                          <a:srgbClr val="000000"/>
                        </a:solidFill>
                        <a:latin typeface="Arial" panose="020B0604020202020204" pitchFamily="34" charset="0"/>
                        <a:ea typeface="微软雅黑" panose="020B0503020204020204" charset="-122"/>
                      </a:endParaRPr>
                    </a:p>
                    <a:p>
                      <a:pPr algn="ctr">
                        <a:buNone/>
                      </a:pPr>
                      <a:r>
                        <a:rPr lang="zh-CN" sz="1200" b="1">
                          <a:solidFill>
                            <a:srgbClr val="000000"/>
                          </a:solidFill>
                          <a:latin typeface="Arial" panose="020B0604020202020204" pitchFamily="34" charset="0"/>
                          <a:ea typeface="微软雅黑" panose="020B0503020204020204" charset="-122"/>
                        </a:rPr>
                        <a:t>（B款）</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200" b="1">
                          <a:solidFill>
                            <a:srgbClr val="000000"/>
                          </a:solidFill>
                          <a:latin typeface="Arial" panose="020B0604020202020204" pitchFamily="34" charset="0"/>
                          <a:ea typeface="微软雅黑" panose="020B0503020204020204" charset="-122"/>
                        </a:rPr>
                        <a:t>意外伤害身故及伤残</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p>
                      <a:pPr algn="ctr">
                        <a:buNone/>
                      </a:pPr>
                      <a:r>
                        <a:rPr lang="en-US" sz="1200" b="1">
                          <a:solidFill>
                            <a:srgbClr val="000000"/>
                          </a:solidFill>
                          <a:latin typeface="微软雅黑" panose="020B0503020204020204" charset="-122"/>
                        </a:rPr>
                        <a:t>2000000</a:t>
                      </a:r>
                      <a:endParaRPr lang="en-US" altLang="en-US" sz="12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200" b="1">
                          <a:solidFill>
                            <a:srgbClr val="000000"/>
                          </a:solidFill>
                          <a:latin typeface="Arial" panose="020B0604020202020204" pitchFamily="34" charset="0"/>
                          <a:ea typeface="微软雅黑" panose="020B0503020204020204" charset="-122"/>
                        </a:rPr>
                        <a:t>每次事故每人累计赔付限额20万元</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r>
              <a:tr h="37338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algn="ctr">
                        <a:buNone/>
                      </a:pPr>
                      <a:r>
                        <a:rPr lang="zh-CN" sz="1200" b="1">
                          <a:solidFill>
                            <a:srgbClr val="000000"/>
                          </a:solidFill>
                          <a:latin typeface="Arial" panose="020B0604020202020204" pitchFamily="34" charset="0"/>
                          <a:ea typeface="微软雅黑" panose="020B0503020204020204" charset="-122"/>
                        </a:rPr>
                        <a:t>意外伤害医疗</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algn="ctr">
                        <a:buNone/>
                      </a:pPr>
                      <a:r>
                        <a:rPr lang="zh-CN" sz="1200" b="1">
                          <a:solidFill>
                            <a:srgbClr val="000000"/>
                          </a:solidFill>
                          <a:latin typeface="Arial" panose="020B0604020202020204" pitchFamily="34" charset="0"/>
                          <a:ea typeface="微软雅黑" panose="020B0503020204020204" charset="-122"/>
                        </a:rPr>
                        <a:t>每次事故每人累计赔付限额5万元</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r>
              <a:tr h="373380">
                <a:tc rowSpan="3">
                  <a:txBody>
                    <a:bodyPr/>
                    <a:p>
                      <a:pPr algn="ctr">
                        <a:buNone/>
                      </a:pPr>
                      <a:r>
                        <a:rPr lang="zh-CN" sz="1200" b="1">
                          <a:solidFill>
                            <a:srgbClr val="000000"/>
                          </a:solidFill>
                          <a:latin typeface="Arial" panose="020B0604020202020204" pitchFamily="34" charset="0"/>
                          <a:ea typeface="微软雅黑" panose="020B0503020204020204" charset="-122"/>
                        </a:rPr>
                        <a:t>平安民用燃气家庭财产保险附加</a:t>
                      </a:r>
                      <a:endParaRPr lang="zh-CN" sz="1200" b="1">
                        <a:solidFill>
                          <a:srgbClr val="000000"/>
                        </a:solidFill>
                        <a:latin typeface="Arial" panose="020B0604020202020204" pitchFamily="34" charset="0"/>
                        <a:ea typeface="微软雅黑" panose="020B0503020204020204" charset="-122"/>
                      </a:endParaRPr>
                    </a:p>
                    <a:p>
                      <a:pPr algn="ctr">
                        <a:buNone/>
                      </a:pPr>
                      <a:r>
                        <a:rPr lang="zh-CN" sz="1200" b="1">
                          <a:solidFill>
                            <a:srgbClr val="000000"/>
                          </a:solidFill>
                          <a:latin typeface="Arial" panose="020B0604020202020204" pitchFamily="34" charset="0"/>
                          <a:ea typeface="微软雅黑" panose="020B0503020204020204" charset="-122"/>
                        </a:rPr>
                        <a:t>第三者责任保险</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200" b="1">
                          <a:solidFill>
                            <a:srgbClr val="000000"/>
                          </a:solidFill>
                          <a:latin typeface="Arial" panose="020B0604020202020204" pitchFamily="34" charset="0"/>
                          <a:ea typeface="微软雅黑" panose="020B0503020204020204" charset="-122"/>
                        </a:rPr>
                        <a:t>第三者意外伤害</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3">
                  <a:txBody>
                    <a:bodyPr/>
                    <a:p>
                      <a:pPr algn="ctr">
                        <a:buNone/>
                      </a:pPr>
                      <a:r>
                        <a:rPr lang="en-US" sz="1200" b="1">
                          <a:solidFill>
                            <a:srgbClr val="000000"/>
                          </a:solidFill>
                          <a:latin typeface="微软雅黑" panose="020B0503020204020204" charset="-122"/>
                        </a:rPr>
                        <a:t>300000</a:t>
                      </a:r>
                      <a:endParaRPr lang="en-US" altLang="en-US" sz="12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200" b="1">
                          <a:solidFill>
                            <a:srgbClr val="000000"/>
                          </a:solidFill>
                          <a:latin typeface="Arial" panose="020B0604020202020204" pitchFamily="34" charset="0"/>
                          <a:ea typeface="微软雅黑" panose="020B0503020204020204" charset="-122"/>
                        </a:rPr>
                        <a:t>每次事故每人累计赔付限额2万元</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r>
              <a:tr h="37338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algn="ctr">
                        <a:buNone/>
                      </a:pPr>
                      <a:r>
                        <a:rPr lang="zh-CN" sz="1200" b="1">
                          <a:solidFill>
                            <a:srgbClr val="000000"/>
                          </a:solidFill>
                          <a:latin typeface="Arial" panose="020B0604020202020204" pitchFamily="34" charset="0"/>
                          <a:ea typeface="微软雅黑" panose="020B0503020204020204" charset="-122"/>
                        </a:rPr>
                        <a:t>第三者意外医疗</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algn="ctr">
                        <a:buNone/>
                      </a:pPr>
                      <a:r>
                        <a:rPr lang="zh-CN" sz="1200" b="1">
                          <a:solidFill>
                            <a:srgbClr val="000000"/>
                          </a:solidFill>
                          <a:latin typeface="Arial" panose="020B0604020202020204" pitchFamily="34" charset="0"/>
                          <a:ea typeface="微软雅黑" panose="020B0503020204020204" charset="-122"/>
                        </a:rPr>
                        <a:t>每次事故每人累计赔付限额2万元</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r>
              <a:tr h="37338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algn="ctr">
                        <a:buNone/>
                      </a:pPr>
                      <a:r>
                        <a:rPr lang="zh-CN" sz="1200" b="1">
                          <a:solidFill>
                            <a:srgbClr val="000000"/>
                          </a:solidFill>
                          <a:latin typeface="Arial" panose="020B0604020202020204" pitchFamily="34" charset="0"/>
                          <a:ea typeface="微软雅黑" panose="020B0503020204020204" charset="-122"/>
                        </a:rPr>
                        <a:t>第三者财产损失</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algn="ctr">
                        <a:buNone/>
                      </a:pPr>
                      <a:r>
                        <a:rPr lang="zh-CN" sz="1200" b="1">
                          <a:solidFill>
                            <a:srgbClr val="000000"/>
                          </a:solidFill>
                          <a:latin typeface="Arial" panose="020B0604020202020204" pitchFamily="34" charset="0"/>
                          <a:ea typeface="微软雅黑" panose="020B0503020204020204" charset="-122"/>
                        </a:rPr>
                        <a:t>每次事故免赔额200元.</a:t>
                      </a:r>
                      <a:endParaRPr lang="zh-CN" altLang="en-US" sz="12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Shape4"/>
          <p:cNvGrpSpPr/>
          <p:nvPr/>
        </p:nvGrpSpPr>
        <p:grpSpPr>
          <a:xfrm>
            <a:off x="299618" y="412859"/>
            <a:ext cx="824633" cy="144001"/>
            <a:chOff x="7922707" y="4563003"/>
            <a:chExt cx="824632" cy="144000"/>
          </a:xfrm>
        </p:grpSpPr>
        <p:sp>
          <p:nvSpPr>
            <p:cNvPr id="1048758" name="Shape4"/>
            <p:cNvSpPr/>
            <p:nvPr>
              <p:custDataLst>
                <p:tags r:id="rId1"/>
              </p:custDataLst>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59" name="Shape4"/>
            <p:cNvSpPr/>
            <p:nvPr>
              <p:custDataLst>
                <p:tags r:id="rId2"/>
              </p:custDataLst>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60" name="Shape4"/>
            <p:cNvSpPr/>
            <p:nvPr>
              <p:custDataLst>
                <p:tags r:id="rId3"/>
              </p:custDataLst>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42" name="Shape4"/>
            <p:cNvCxnSpPr/>
            <p:nvPr>
              <p:custDataLst>
                <p:tags r:id="rId4"/>
              </p:custDataLst>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43" name="Shape4"/>
            <p:cNvCxnSpPr/>
            <p:nvPr>
              <p:custDataLst>
                <p:tags r:id="rId5"/>
              </p:custDataLst>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761" name="Shape5"/>
          <p:cNvSpPr txBox="1"/>
          <p:nvPr>
            <p:custDataLst>
              <p:tags r:id="rId6"/>
            </p:custDataLst>
          </p:nvPr>
        </p:nvSpPr>
        <p:spPr>
          <a:xfrm>
            <a:off x="1150620" y="346075"/>
            <a:ext cx="3822700"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平安财险</a:t>
            </a:r>
            <a:r>
              <a:rPr lang="en-US" altLang="zh-CN" sz="1500" dirty="0">
                <a:latin typeface="微软雅黑" panose="020B0503020204020204" charset="-122"/>
                <a:ea typeface="微软雅黑" panose="020B0503020204020204" charset="-122"/>
                <a:sym typeface="汉仪旗黑X1-55W" panose="00020600040101010101" pitchFamily="18" charset="-122"/>
              </a:rPr>
              <a:t>--</a:t>
            </a:r>
            <a:r>
              <a:rPr lang="zh-CN" altLang="en-US" sz="1500" dirty="0">
                <a:latin typeface="微软雅黑" panose="020B0503020204020204" charset="-122"/>
                <a:ea typeface="微软雅黑" panose="020B0503020204020204" charset="-122"/>
                <a:sym typeface="汉仪旗黑X1-55W" panose="00020600040101010101" pitchFamily="18" charset="-122"/>
              </a:rPr>
              <a:t>商用家财险保险方案</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sp>
        <p:nvSpPr>
          <p:cNvPr id="3" name="文本框 2"/>
          <p:cNvSpPr txBox="1"/>
          <p:nvPr/>
        </p:nvSpPr>
        <p:spPr>
          <a:xfrm>
            <a:off x="332740" y="566420"/>
            <a:ext cx="8455025" cy="4302125"/>
          </a:xfrm>
          <a:prstGeom prst="rect">
            <a:avLst/>
          </a:prstGeom>
          <a:noFill/>
        </p:spPr>
        <p:txBody>
          <a:bodyPr wrap="square" rtlCol="0" anchor="t">
            <a:noAutofit/>
          </a:bodyPr>
          <a:p>
            <a:pPr algn="just"/>
            <a:r>
              <a:rPr lang="zh-CN" altLang="en-US" sz="1200" b="1">
                <a:solidFill>
                  <a:schemeClr val="tx1"/>
                </a:solidFill>
              </a:rPr>
              <a:t>特约：</a:t>
            </a:r>
            <a:endParaRPr lang="zh-CN" altLang="en-US" sz="1200" b="1">
              <a:solidFill>
                <a:schemeClr val="tx1"/>
              </a:solidFill>
            </a:endParaRPr>
          </a:p>
          <a:p>
            <a:pPr algn="just"/>
            <a:r>
              <a:rPr lang="zh-CN" altLang="en-US" sz="1200">
                <a:solidFill>
                  <a:schemeClr val="tx1"/>
                </a:solidFill>
              </a:rPr>
              <a:t>1、本保单人身意外伤害险附加《平安产险附加扩展商用燃气财产保险》条款，投保人扩展为使用合法经营的燃气公司供应的商用燃气（指管道天然气）的用户。保险标的为用于生产经营的房屋主体、房屋装修、室内财产以及商户雇员。在保险期间内，被保险人在保险单载明的地址内因将燃气作为燃料使用而发生火灾、爆炸，造成保险标的的直接损失，保险人按本保险合同的约定负责赔偿。</a:t>
            </a:r>
            <a:endParaRPr lang="zh-CN" altLang="en-US" sz="1200">
              <a:solidFill>
                <a:schemeClr val="tx1"/>
              </a:solidFill>
            </a:endParaRPr>
          </a:p>
          <a:p>
            <a:pPr algn="just"/>
            <a:r>
              <a:rPr lang="zh-CN" altLang="en-US" sz="1200">
                <a:solidFill>
                  <a:schemeClr val="tx1"/>
                </a:solidFill>
              </a:rPr>
              <a:t>2、本产品每户燃气用户仅限投保一份（即限选1款保险方案投保），本保险的财产保险标的坐落地址为该燃气用户在燃气公司登记的唯一地址。</a:t>
            </a:r>
            <a:endParaRPr lang="zh-CN" altLang="en-US" sz="1200">
              <a:solidFill>
                <a:schemeClr val="tx1"/>
              </a:solidFill>
            </a:endParaRPr>
          </a:p>
          <a:p>
            <a:pPr algn="just"/>
            <a:r>
              <a:rPr lang="zh-CN" altLang="en-US" sz="1200">
                <a:solidFill>
                  <a:schemeClr val="tx1"/>
                </a:solidFill>
              </a:rPr>
              <a:t>3、本保险合同平安民用燃气家庭财产保险每次事故绝对免赔额200元；平安民用燃气家庭财产保险附加第三者责任保险-第三者财产损失每次事故绝对免赔额200元。</a:t>
            </a:r>
            <a:endParaRPr lang="zh-CN" altLang="en-US" sz="1200">
              <a:solidFill>
                <a:schemeClr val="tx1"/>
              </a:solidFill>
            </a:endParaRPr>
          </a:p>
          <a:p>
            <a:pPr algn="just"/>
            <a:r>
              <a:rPr lang="zh-CN" altLang="en-US" sz="1200">
                <a:solidFill>
                  <a:schemeClr val="tx1"/>
                </a:solidFill>
              </a:rPr>
              <a:t>4、本保险合同中平安民用燃气家庭财产保险附加第三者责任保险-第三者意外伤害和第三者意外医疗每次事故每人赔偿限额20000元；平安产险燃气用户意外伤害保险（B款）-每人死亡、伤残赔偿限额200000元，每人医疗费用赔偿限额50000元。</a:t>
            </a:r>
            <a:endParaRPr lang="zh-CN" altLang="en-US" sz="1200">
              <a:solidFill>
                <a:schemeClr val="tx1"/>
              </a:solidFill>
            </a:endParaRPr>
          </a:p>
          <a:p>
            <a:pPr algn="just"/>
            <a:r>
              <a:rPr lang="zh-CN" altLang="en-US" sz="1200">
                <a:solidFill>
                  <a:schemeClr val="tx1"/>
                </a:solidFill>
              </a:rPr>
              <a:t>5、湖北保险行业协会投诉电话88012378。</a:t>
            </a:r>
            <a:endParaRPr lang="zh-CN" altLang="en-US" sz="1200">
              <a:solidFill>
                <a:schemeClr val="tx1"/>
              </a:solidFill>
            </a:endParaRPr>
          </a:p>
          <a:p>
            <a:pPr algn="just"/>
            <a:r>
              <a:rPr lang="zh-CN" altLang="en-US" sz="1200">
                <a:solidFill>
                  <a:schemeClr val="tx1"/>
                </a:solidFill>
              </a:rPr>
              <a:t>6、本保险涉及的财产损失部分赔偿遵循第一危险赔偿方式，即在发生保险责任范围内的损失时，保险人在保险金额/赔偿限额内按实际损失足额赔偿。</a:t>
            </a:r>
            <a:endParaRPr lang="zh-CN" altLang="en-US" sz="1200">
              <a:solidFill>
                <a:schemeClr val="tx1"/>
              </a:solidFill>
            </a:endParaRPr>
          </a:p>
          <a:p>
            <a:pPr algn="just"/>
            <a:r>
              <a:rPr lang="zh-CN" altLang="en-US" sz="1200">
                <a:solidFill>
                  <a:schemeClr val="tx1"/>
                </a:solidFill>
              </a:rPr>
              <a:t>7、兹经双方同意，投保人在投保时无需提供雇员名单。如发生保单项下赔案，投保人需提供与被保险雇员之间劳务关系的相关证明文件（劳动合同、工资发放证明等），保险人认可该文件的效力，并自动确认出险人员为保单被保险人。</a:t>
            </a:r>
            <a:endParaRPr lang="zh-CN" altLang="en-US" sz="1200">
              <a:solidFill>
                <a:schemeClr val="tx1"/>
              </a:solidFill>
            </a:endParaRPr>
          </a:p>
          <a:p>
            <a:pPr algn="just"/>
            <a:r>
              <a:rPr lang="zh-CN" altLang="en-US" sz="1200">
                <a:solidFill>
                  <a:schemeClr val="tx1"/>
                </a:solidFill>
              </a:rPr>
              <a:t>8、案情清晰的案件，保险公司应当自接到书面通知之日起五个工作日内根据已有证明和资料在可以确定的数额内预付理赔款，如事故赔偿存在争议可聘请第三方公估机构评估，并自与索赔申请人达成赔偿协议之日起五个工作日内依赔偿协议完成赔款支付。</a:t>
            </a:r>
            <a:endParaRPr lang="zh-CN" altLang="en-US" sz="1200">
              <a:solidFill>
                <a:schemeClr val="tx1"/>
              </a:solidFill>
            </a:endParaRPr>
          </a:p>
          <a:p>
            <a:pPr algn="just"/>
            <a:r>
              <a:rPr lang="zh-CN" altLang="en-US" sz="1200">
                <a:solidFill>
                  <a:schemeClr val="tx1"/>
                </a:solidFill>
              </a:rPr>
              <a:t>9、管道商业用户可包括以下用户：（1）餐饮业：正餐服务、快餐服务、饮料及冷饮服务；（2）服务业：家庭服务、洗染服务、理发及美容保健、婚姻服务、殡葬服务、摄影扩印服务、汽车摩托车维护与保养、办公设备维修、家用电器修理、诊所；（3）零售业：便利店、食品饮料及烟草零售、服装及日用品零售、文体用品零售、医药及医疗器材零售、五金家具及室内装修材料零售、家用电器及电子产品零售；（4）政府机关、企事业单位所属食堂。</a:t>
            </a:r>
            <a:endParaRPr lang="zh-CN" altLang="en-US" sz="1200">
              <a:solidFill>
                <a:schemeClr val="tx1"/>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Shape4"/>
          <p:cNvGrpSpPr/>
          <p:nvPr/>
        </p:nvGrpSpPr>
        <p:grpSpPr>
          <a:xfrm>
            <a:off x="299618" y="412859"/>
            <a:ext cx="824633" cy="144001"/>
            <a:chOff x="7922707" y="4563003"/>
            <a:chExt cx="824632" cy="144000"/>
          </a:xfrm>
        </p:grpSpPr>
        <p:sp>
          <p:nvSpPr>
            <p:cNvPr id="1048758" name="Shape4"/>
            <p:cNvSpPr/>
            <p:nvPr>
              <p:custDataLst>
                <p:tags r:id="rId1"/>
              </p:custDataLst>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59" name="Shape4"/>
            <p:cNvSpPr/>
            <p:nvPr>
              <p:custDataLst>
                <p:tags r:id="rId2"/>
              </p:custDataLst>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60" name="Shape4"/>
            <p:cNvSpPr/>
            <p:nvPr>
              <p:custDataLst>
                <p:tags r:id="rId3"/>
              </p:custDataLst>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42" name="Shape4"/>
            <p:cNvCxnSpPr/>
            <p:nvPr>
              <p:custDataLst>
                <p:tags r:id="rId4"/>
              </p:custDataLst>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43" name="Shape4"/>
            <p:cNvCxnSpPr/>
            <p:nvPr>
              <p:custDataLst>
                <p:tags r:id="rId5"/>
              </p:custDataLst>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761" name="Shape5"/>
          <p:cNvSpPr txBox="1"/>
          <p:nvPr>
            <p:custDataLst>
              <p:tags r:id="rId6"/>
            </p:custDataLst>
          </p:nvPr>
        </p:nvSpPr>
        <p:spPr>
          <a:xfrm>
            <a:off x="1150620" y="346075"/>
            <a:ext cx="3397250"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平安财险</a:t>
            </a:r>
            <a:r>
              <a:rPr lang="en-US" altLang="zh-CN" sz="1500" dirty="0">
                <a:latin typeface="微软雅黑" panose="020B0503020204020204" charset="-122"/>
                <a:ea typeface="微软雅黑" panose="020B0503020204020204" charset="-122"/>
                <a:sym typeface="汉仪旗黑X1-55W" panose="00020600040101010101" pitchFamily="18" charset="-122"/>
              </a:rPr>
              <a:t>--</a:t>
            </a:r>
            <a:r>
              <a:rPr lang="zh-CN" altLang="en-US" sz="1500" dirty="0">
                <a:latin typeface="微软雅黑" panose="020B0503020204020204" charset="-122"/>
                <a:ea typeface="微软雅黑" panose="020B0503020204020204" charset="-122"/>
                <a:sym typeface="汉仪旗黑X1-55W" panose="00020600040101010101" pitchFamily="18" charset="-122"/>
              </a:rPr>
              <a:t>民用家财险保险方案</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graphicFrame>
        <p:nvGraphicFramePr>
          <p:cNvPr id="2" name="表格 1"/>
          <p:cNvGraphicFramePr/>
          <p:nvPr>
            <p:custDataLst>
              <p:tags r:id="rId7"/>
            </p:custDataLst>
          </p:nvPr>
        </p:nvGraphicFramePr>
        <p:xfrm>
          <a:off x="347980" y="694690"/>
          <a:ext cx="8437245" cy="4368800"/>
        </p:xfrm>
        <a:graphic>
          <a:graphicData uri="http://schemas.openxmlformats.org/drawingml/2006/table">
            <a:tbl>
              <a:tblPr/>
              <a:tblGrid>
                <a:gridCol w="3089275"/>
                <a:gridCol w="1701800"/>
                <a:gridCol w="893445"/>
                <a:gridCol w="889000"/>
                <a:gridCol w="1863725"/>
              </a:tblGrid>
              <a:tr h="210820">
                <a:tc rowSpan="2">
                  <a:txBody>
                    <a:bodyPr/>
                    <a:p>
                      <a:pPr algn="ctr">
                        <a:buNone/>
                      </a:pPr>
                      <a:r>
                        <a:rPr lang="zh-CN" sz="1000" b="1">
                          <a:solidFill>
                            <a:srgbClr val="000000"/>
                          </a:solidFill>
                          <a:latin typeface="Arial" panose="020B0604020202020204" pitchFamily="34" charset="0"/>
                          <a:ea typeface="微软雅黑" panose="020B0503020204020204" charset="-122"/>
                        </a:rPr>
                        <a:t>险种</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p>
                      <a:pPr algn="ctr">
                        <a:buNone/>
                      </a:pPr>
                      <a:r>
                        <a:rPr lang="zh-CN" sz="1000" b="1">
                          <a:solidFill>
                            <a:srgbClr val="000000"/>
                          </a:solidFill>
                          <a:latin typeface="Arial" panose="020B0604020202020204" pitchFamily="34" charset="0"/>
                          <a:ea typeface="微软雅黑" panose="020B0503020204020204" charset="-122"/>
                        </a:rPr>
                        <a:t>责任</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方案1</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方案2</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p>
                      <a:pPr algn="ctr">
                        <a:buNone/>
                      </a:pPr>
                      <a:r>
                        <a:rPr lang="zh-CN" sz="1000" b="1">
                          <a:solidFill>
                            <a:srgbClr val="000000"/>
                          </a:solidFill>
                          <a:latin typeface="Arial" panose="020B0604020202020204" pitchFamily="34" charset="0"/>
                          <a:ea typeface="微软雅黑" panose="020B0503020204020204" charset="-122"/>
                        </a:rPr>
                        <a:t>责任管理</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algn="ctr">
                        <a:buNone/>
                      </a:pPr>
                      <a:r>
                        <a:rPr lang="zh-CN" sz="1000" b="1">
                          <a:solidFill>
                            <a:srgbClr val="000000"/>
                          </a:solidFill>
                          <a:latin typeface="Arial" panose="020B0604020202020204" pitchFamily="34" charset="0"/>
                          <a:ea typeface="微软雅黑" panose="020B0503020204020204" charset="-122"/>
                        </a:rPr>
                        <a:t>保额</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保额</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r h="210820">
                <a:tc>
                  <a:txBody>
                    <a:bodyPr/>
                    <a:p>
                      <a:pPr algn="ctr">
                        <a:buNone/>
                      </a:pPr>
                      <a:r>
                        <a:rPr lang="zh-CN" sz="1000" b="1">
                          <a:solidFill>
                            <a:srgbClr val="000000"/>
                          </a:solidFill>
                          <a:latin typeface="Arial" panose="020B0604020202020204" pitchFamily="34" charset="0"/>
                          <a:ea typeface="微软雅黑" panose="020B0503020204020204" charset="-122"/>
                        </a:rPr>
                        <a:t>平安民用燃气家庭财产保险</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家庭财产损失</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1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30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rowSpan="2">
                  <a:txBody>
                    <a:bodyPr/>
                    <a:p>
                      <a:pPr algn="ctr">
                        <a:buNone/>
                      </a:pPr>
                      <a:r>
                        <a:rPr lang="zh-CN" sz="1000" b="1">
                          <a:solidFill>
                            <a:srgbClr val="000000"/>
                          </a:solidFill>
                          <a:latin typeface="Arial" panose="020B0604020202020204" pitchFamily="34" charset="0"/>
                          <a:ea typeface="微软雅黑" panose="020B0503020204020204" charset="-122"/>
                        </a:rPr>
                        <a:t>平安民用燃气家庭财产保险附加第三者责任保险</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第三者意外伤害</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p>
                      <a:pPr algn="ctr">
                        <a:buNone/>
                      </a:pPr>
                      <a:r>
                        <a:rPr lang="zh-CN" sz="1000" b="1">
                          <a:solidFill>
                            <a:srgbClr val="000000"/>
                          </a:solidFill>
                          <a:latin typeface="Arial" panose="020B0604020202020204" pitchFamily="34" charset="0"/>
                          <a:ea typeface="微软雅黑" panose="020B0503020204020204" charset="-122"/>
                        </a:rPr>
                        <a:t>1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p>
                      <a:pPr algn="ctr">
                        <a:buNone/>
                      </a:pPr>
                      <a:r>
                        <a:rPr lang="zh-CN" sz="1000" b="1">
                          <a:solidFill>
                            <a:srgbClr val="000000"/>
                          </a:solidFill>
                          <a:latin typeface="Arial" panose="020B0604020202020204" pitchFamily="34" charset="0"/>
                          <a:ea typeface="微软雅黑" panose="020B0503020204020204" charset="-122"/>
                        </a:rPr>
                        <a:t>30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algn="ctr">
                        <a:buNone/>
                      </a:pPr>
                      <a:r>
                        <a:rPr lang="zh-CN" sz="1000" b="1">
                          <a:solidFill>
                            <a:srgbClr val="000000"/>
                          </a:solidFill>
                          <a:latin typeface="Arial" panose="020B0604020202020204" pitchFamily="34" charset="0"/>
                          <a:ea typeface="微软雅黑" panose="020B0503020204020204" charset="-122"/>
                        </a:rPr>
                        <a:t>第三者意外医疗</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rowSpan="2">
                  <a:txBody>
                    <a:bodyPr/>
                    <a:p>
                      <a:pPr algn="ctr">
                        <a:buNone/>
                      </a:pPr>
                      <a:r>
                        <a:rPr lang="zh-CN" sz="1000" b="1">
                          <a:solidFill>
                            <a:srgbClr val="000000"/>
                          </a:solidFill>
                          <a:latin typeface="Arial" panose="020B0604020202020204" pitchFamily="34" charset="0"/>
                          <a:ea typeface="微软雅黑" panose="020B0503020204020204" charset="-122"/>
                        </a:rPr>
                        <a:t>平安产险燃气用户意外伤害保险（B款)</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意外伤害身故及伤残</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1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30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algn="ctr">
                        <a:buNone/>
                      </a:pPr>
                      <a:r>
                        <a:rPr lang="zh-CN" sz="1000" b="1">
                          <a:solidFill>
                            <a:srgbClr val="000000"/>
                          </a:solidFill>
                          <a:latin typeface="Arial" panose="020B0604020202020204" pitchFamily="34" charset="0"/>
                          <a:ea typeface="微软雅黑" panose="020B0503020204020204" charset="-122"/>
                        </a:rPr>
                        <a:t>意外伤害医疗</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2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rowSpan="3">
                  <a:txBody>
                    <a:bodyPr/>
                    <a:p>
                      <a:pPr algn="ctr">
                        <a:buNone/>
                      </a:pPr>
                      <a:r>
                        <a:rPr lang="zh-CN" sz="1000" b="1">
                          <a:solidFill>
                            <a:srgbClr val="000000"/>
                          </a:solidFill>
                          <a:latin typeface="Arial" panose="020B0604020202020204" pitchFamily="34" charset="0"/>
                          <a:ea typeface="微软雅黑" panose="020B0503020204020204" charset="-122"/>
                        </a:rPr>
                        <a:t>平安家庭财产保险</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室内财产损失保障</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2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50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免陪500元,比例90%</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algn="ctr">
                        <a:buNone/>
                      </a:pPr>
                      <a:r>
                        <a:rPr lang="zh-CN" sz="1000" b="1">
                          <a:solidFill>
                            <a:srgbClr val="000000"/>
                          </a:solidFill>
                          <a:latin typeface="Arial" panose="020B0604020202020204" pitchFamily="34" charset="0"/>
                          <a:ea typeface="微软雅黑" panose="020B0503020204020204" charset="-122"/>
                        </a:rPr>
                        <a:t>房屋主体损失保障</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10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免陪500元,比例90%</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algn="ctr">
                        <a:buNone/>
                      </a:pPr>
                      <a:r>
                        <a:rPr lang="zh-CN" sz="1000" b="1">
                          <a:solidFill>
                            <a:srgbClr val="000000"/>
                          </a:solidFill>
                          <a:latin typeface="Arial" panose="020B0604020202020204" pitchFamily="34" charset="0"/>
                          <a:ea typeface="微软雅黑" panose="020B0503020204020204" charset="-122"/>
                        </a:rPr>
                        <a:t>房屋装修损失保障</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1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2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免陪500元,比例90%</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a:txBody>
                    <a:bodyPr/>
                    <a:p>
                      <a:pPr algn="ctr">
                        <a:buNone/>
                      </a:pPr>
                      <a:r>
                        <a:rPr lang="zh-CN" sz="1000" b="1">
                          <a:solidFill>
                            <a:srgbClr val="000000"/>
                          </a:solidFill>
                          <a:latin typeface="Arial" panose="020B0604020202020204" pitchFamily="34" charset="0"/>
                          <a:ea typeface="微软雅黑" panose="020B0503020204020204" charset="-122"/>
                        </a:rPr>
                        <a:t>平安产险居家责任保险</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居家责任险</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10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a:txBody>
                    <a:bodyPr/>
                    <a:p>
                      <a:pPr algn="ctr">
                        <a:buNone/>
                      </a:pPr>
                      <a:r>
                        <a:rPr lang="zh-CN" sz="1000" b="1">
                          <a:solidFill>
                            <a:srgbClr val="000000"/>
                          </a:solidFill>
                          <a:latin typeface="Arial" panose="020B0604020202020204" pitchFamily="34" charset="0"/>
                          <a:ea typeface="微软雅黑" panose="020B0503020204020204" charset="-122"/>
                        </a:rPr>
                        <a:t>平安附加家庭财产盗抢损失保险</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盗抢损失（无限制入室方式）</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1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2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a:txBody>
                    <a:bodyPr/>
                    <a:p>
                      <a:pPr algn="ctr">
                        <a:buNone/>
                      </a:pPr>
                      <a:r>
                        <a:rPr lang="zh-CN" sz="1000" b="1">
                          <a:solidFill>
                            <a:srgbClr val="000000"/>
                          </a:solidFill>
                          <a:latin typeface="Arial" panose="020B0604020202020204" pitchFamily="34" charset="0"/>
                          <a:ea typeface="微软雅黑" panose="020B0503020204020204" charset="-122"/>
                        </a:rPr>
                        <a:t>平安水暖管爆裂损失费用补偿保险</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水暖管爆裂损失费用补偿</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1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2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免赔200元,比例90%</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a:txBody>
                    <a:bodyPr/>
                    <a:p>
                      <a:pPr algn="ctr">
                        <a:buNone/>
                      </a:pPr>
                      <a:r>
                        <a:rPr lang="zh-CN" sz="1000" b="1">
                          <a:solidFill>
                            <a:srgbClr val="000000"/>
                          </a:solidFill>
                          <a:latin typeface="Arial" panose="020B0604020202020204" pitchFamily="34" charset="0"/>
                          <a:ea typeface="微软雅黑" panose="020B0503020204020204" charset="-122"/>
                        </a:rPr>
                        <a:t>平安附加房屋损坏津贴保险</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房屋损坏津贴</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10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63220">
                <a:tc>
                  <a:txBody>
                    <a:bodyPr/>
                    <a:p>
                      <a:pPr algn="ctr">
                        <a:buNone/>
                      </a:pPr>
                      <a:r>
                        <a:rPr lang="zh-CN" sz="1000" b="1">
                          <a:solidFill>
                            <a:srgbClr val="000000"/>
                          </a:solidFill>
                          <a:latin typeface="Arial" panose="020B0604020202020204" pitchFamily="34" charset="0"/>
                          <a:ea typeface="微软雅黑" panose="020B0503020204020204" charset="-122"/>
                        </a:rPr>
                        <a:t>平安附加临时住宿费用损失保险</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租房费用损失保障</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1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2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100元</a:t>
                      </a:r>
                      <a:r>
                        <a:rPr lang="en-US" altLang="zh-CN" sz="1000" b="1">
                          <a:solidFill>
                            <a:srgbClr val="000000"/>
                          </a:solidFill>
                          <a:latin typeface="Arial" panose="020B0604020202020204" pitchFamily="34" charset="0"/>
                          <a:ea typeface="微软雅黑" panose="020B0503020204020204" charset="-122"/>
                        </a:rPr>
                        <a:t>/</a:t>
                      </a:r>
                      <a:r>
                        <a:rPr lang="zh-CN" sz="1000" b="1">
                          <a:solidFill>
                            <a:srgbClr val="000000"/>
                          </a:solidFill>
                          <a:latin typeface="Arial" panose="020B0604020202020204" pitchFamily="34" charset="0"/>
                          <a:ea typeface="微软雅黑" panose="020B0503020204020204" charset="-122"/>
                        </a:rPr>
                        <a:t>天，单次最多赔偿90天</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10820">
                <a:tc rowSpan="4">
                  <a:txBody>
                    <a:bodyPr/>
                    <a:p>
                      <a:pPr algn="ctr">
                        <a:buNone/>
                      </a:pPr>
                      <a:r>
                        <a:rPr lang="zh-CN" sz="1000" b="1">
                          <a:solidFill>
                            <a:srgbClr val="000000"/>
                          </a:solidFill>
                          <a:latin typeface="Arial" panose="020B0604020202020204" pitchFamily="34" charset="0"/>
                          <a:ea typeface="微软雅黑" panose="020B0503020204020204" charset="-122"/>
                        </a:rPr>
                        <a:t>平安产险交通工具意外伤害保险（B款）</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飞机意外伤害身故和残疾</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2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50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r>
              <a:tr h="21082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algn="ctr">
                        <a:buNone/>
                      </a:pPr>
                      <a:r>
                        <a:rPr lang="zh-CN" sz="1000" b="1">
                          <a:solidFill>
                            <a:srgbClr val="000000"/>
                          </a:solidFill>
                          <a:latin typeface="Arial" panose="020B0604020202020204" pitchFamily="34" charset="0"/>
                          <a:ea typeface="微软雅黑" panose="020B0503020204020204" charset="-122"/>
                        </a:rPr>
                        <a:t>火车意外伤害身故和残疾</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12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2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r>
              <a:tr h="21082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algn="ctr">
                        <a:buNone/>
                      </a:pPr>
                      <a:r>
                        <a:rPr lang="zh-CN" sz="1000" b="1">
                          <a:solidFill>
                            <a:srgbClr val="000000"/>
                          </a:solidFill>
                          <a:latin typeface="Arial" panose="020B0604020202020204" pitchFamily="34" charset="0"/>
                          <a:ea typeface="微软雅黑" panose="020B0503020204020204" charset="-122"/>
                        </a:rPr>
                        <a:t>轮船意外伤害身故和残疾</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12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2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r>
              <a:tr h="21082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algn="ctr">
                        <a:buNone/>
                      </a:pPr>
                      <a:r>
                        <a:rPr lang="zh-CN" sz="1000" b="1">
                          <a:solidFill>
                            <a:srgbClr val="000000"/>
                          </a:solidFill>
                          <a:latin typeface="Arial" panose="020B0604020202020204" pitchFamily="34" charset="0"/>
                          <a:ea typeface="微软雅黑" panose="020B0503020204020204" charset="-122"/>
                        </a:rPr>
                        <a:t>汽车意外伤害身故和残疾</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2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r>
                        <a:rPr lang="zh-CN" sz="1000" b="1">
                          <a:solidFill>
                            <a:srgbClr val="000000"/>
                          </a:solidFill>
                          <a:latin typeface="Arial" panose="020B0604020202020204" pitchFamily="34" charset="0"/>
                          <a:ea typeface="微软雅黑" panose="020B0503020204020204" charset="-122"/>
                        </a:rPr>
                        <a:t>5万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a:txBody>
                    <a:bodyPr/>
                    <a:p>
                      <a:pPr algn="ct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r>
              <a:tr h="210820">
                <a:tc gridSpan="2">
                  <a:txBody>
                    <a:bodyPr/>
                    <a:p>
                      <a:pPr algn="ctr">
                        <a:buNone/>
                      </a:pPr>
                      <a:r>
                        <a:rPr lang="zh-CN" sz="1000" b="1">
                          <a:solidFill>
                            <a:srgbClr val="000000"/>
                          </a:solidFill>
                          <a:latin typeface="Arial" panose="020B0604020202020204" pitchFamily="34" charset="0"/>
                          <a:ea typeface="微软雅黑" panose="020B0503020204020204" charset="-122"/>
                        </a:rPr>
                        <a:t>保费</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p>
                      <a:pPr algn="ctr">
                        <a:buNone/>
                      </a:pPr>
                      <a:r>
                        <a:rPr lang="zh-CN" sz="1000" b="1">
                          <a:solidFill>
                            <a:srgbClr val="000000"/>
                          </a:solidFill>
                          <a:latin typeface="Arial" panose="020B0604020202020204" pitchFamily="34" charset="0"/>
                          <a:ea typeface="微软雅黑" panose="020B0503020204020204" charset="-122"/>
                        </a:rPr>
                        <a:t>60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lgn="ctr">
                        <a:buNone/>
                      </a:pPr>
                      <a:r>
                        <a:rPr lang="zh-CN" sz="1000" b="1">
                          <a:solidFill>
                            <a:srgbClr val="000000"/>
                          </a:solidFill>
                          <a:latin typeface="Arial" panose="020B0604020202020204" pitchFamily="34" charset="0"/>
                          <a:ea typeface="微软雅黑" panose="020B0503020204020204" charset="-122"/>
                        </a:rPr>
                        <a:t>110元</a:t>
                      </a:r>
                      <a:endParaRPr lang="zh-CN" altLang="en-US" sz="1000" b="1">
                        <a:solidFill>
                          <a:srgbClr val="000000"/>
                        </a:solidFill>
                        <a:latin typeface="Arial" panose="020B0604020202020204" pitchFamily="34" charset="0"/>
                        <a:ea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a:buNone/>
                      </a:pPr>
                      <a:endParaRPr lang="en-US" altLang="en-US" sz="1000" b="1">
                        <a:solidFill>
                          <a:srgbClr val="000000"/>
                        </a:solidFill>
                        <a:latin typeface="微软雅黑" panose="020B050302020402020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bl>
          </a:graphicData>
        </a:graphic>
      </p:graphicFrame>
      <p:pic>
        <p:nvPicPr>
          <p:cNvPr id="6" name="图片 5" descr="微信截图_20240604155649"/>
          <p:cNvPicPr>
            <a:picLocks noChangeAspect="1"/>
          </p:cNvPicPr>
          <p:nvPr>
            <p:custDataLst>
              <p:tags r:id="rId8"/>
            </p:custDataLst>
          </p:nvPr>
        </p:nvPicPr>
        <p:blipFill>
          <a:blip r:embed="rId9"/>
          <a:stretch>
            <a:fillRect/>
          </a:stretch>
        </p:blipFill>
        <p:spPr>
          <a:xfrm>
            <a:off x="7376795" y="4498340"/>
            <a:ext cx="1764030" cy="645160"/>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06" name="Shape1"/>
          <p:cNvSpPr/>
          <p:nvPr/>
        </p:nvSpPr>
        <p:spPr>
          <a:xfrm>
            <a:off x="1092362" y="1819989"/>
            <a:ext cx="1569720" cy="15697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07" name="Shape2"/>
          <p:cNvSpPr/>
          <p:nvPr/>
        </p:nvSpPr>
        <p:spPr>
          <a:xfrm rot="7118823" flipH="1">
            <a:off x="5862461" y="933249"/>
            <a:ext cx="5260893" cy="3421403"/>
          </a:xfrm>
          <a:custGeom>
            <a:avLst/>
            <a:gdLst>
              <a:gd name="connsiteX0" fmla="*/ 967296 w 7014524"/>
              <a:gd name="connsiteY0" fmla="*/ 0 h 4561871"/>
              <a:gd name="connsiteX1" fmla="*/ 0 w 7014524"/>
              <a:gd name="connsiteY1" fmla="*/ 1816525 h 4561871"/>
              <a:gd name="connsiteX2" fmla="*/ 22301 w 7014524"/>
              <a:gd name="connsiteY2" fmla="*/ 1836025 h 4561871"/>
              <a:gd name="connsiteX3" fmla="*/ 451752 w 7014524"/>
              <a:gd name="connsiteY3" fmla="*/ 2097424 h 4561871"/>
              <a:gd name="connsiteX4" fmla="*/ 3157390 w 7014524"/>
              <a:gd name="connsiteY4" fmla="*/ 2154159 h 4561871"/>
              <a:gd name="connsiteX5" fmla="*/ 5080404 w 7014524"/>
              <a:gd name="connsiteY5" fmla="*/ 4328997 h 4561871"/>
              <a:gd name="connsiteX6" fmla="*/ 6109693 w 7014524"/>
              <a:gd name="connsiteY6" fmla="*/ 4542935 h 4561871"/>
              <a:gd name="connsiteX7" fmla="*/ 6300053 w 7014524"/>
              <a:gd name="connsiteY7" fmla="*/ 4561871 h 4561871"/>
              <a:gd name="connsiteX8" fmla="*/ 7014524 w 7014524"/>
              <a:gd name="connsiteY8" fmla="*/ 3220137 h 4561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4524" h="4561871">
                <a:moveTo>
                  <a:pt x="967296" y="0"/>
                </a:moveTo>
                <a:lnTo>
                  <a:pt x="0" y="1816525"/>
                </a:lnTo>
                <a:lnTo>
                  <a:pt x="22301" y="1836025"/>
                </a:lnTo>
                <a:cubicBezTo>
                  <a:pt x="151534" y="1940672"/>
                  <a:pt x="294110" y="2030761"/>
                  <a:pt x="451752" y="2097424"/>
                </a:cubicBezTo>
                <a:cubicBezTo>
                  <a:pt x="1292512" y="2452963"/>
                  <a:pt x="2231659" y="1707845"/>
                  <a:pt x="3157390" y="2154159"/>
                </a:cubicBezTo>
                <a:cubicBezTo>
                  <a:pt x="4083120" y="2600474"/>
                  <a:pt x="3917651" y="3946982"/>
                  <a:pt x="5080404" y="4328997"/>
                </a:cubicBezTo>
                <a:cubicBezTo>
                  <a:pt x="5371093" y="4424501"/>
                  <a:pt x="5728863" y="4497547"/>
                  <a:pt x="6109693" y="4542935"/>
                </a:cubicBezTo>
                <a:lnTo>
                  <a:pt x="6300053" y="4561871"/>
                </a:lnTo>
                <a:lnTo>
                  <a:pt x="7014524" y="322013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08" name="Shape3"/>
          <p:cNvSpPr txBox="1"/>
          <p:nvPr/>
        </p:nvSpPr>
        <p:spPr>
          <a:xfrm>
            <a:off x="762647" y="2675137"/>
            <a:ext cx="2268416" cy="414020"/>
          </a:xfrm>
          <a:prstGeom prst="rect">
            <a:avLst/>
          </a:prstGeom>
          <a:noFill/>
        </p:spPr>
        <p:txBody>
          <a:bodyPr wrap="square" rtlCol="0">
            <a:spAutoFit/>
          </a:bodyPr>
          <a:lstStyle/>
          <a:p>
            <a:pPr algn="ctr"/>
            <a:r>
              <a:rPr lang="en-US" altLang="zh-CN" sz="2100"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rPr>
              <a:t>CONTENTS</a:t>
            </a:r>
            <a:endParaRPr lang="zh-CN" altLang="en-US" sz="2100"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09" name="Shape4"/>
          <p:cNvSpPr txBox="1"/>
          <p:nvPr/>
        </p:nvSpPr>
        <p:spPr>
          <a:xfrm>
            <a:off x="1246223" y="2097182"/>
            <a:ext cx="1301262" cy="645160"/>
          </a:xfrm>
          <a:prstGeom prst="rect">
            <a:avLst/>
          </a:prstGeom>
          <a:noFill/>
        </p:spPr>
        <p:txBody>
          <a:bodyPr wrap="square" rtlCol="0">
            <a:spAutoFit/>
          </a:bodyPr>
          <a:lstStyle/>
          <a:p>
            <a:pPr algn="ctr"/>
            <a:r>
              <a:rPr lang="zh-CN" altLang="en-US" sz="3600"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rPr>
              <a:t>目录</a:t>
            </a:r>
            <a:endParaRPr lang="zh-CN" altLang="en-US" sz="3600"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10" name="Shape5"/>
          <p:cNvSpPr/>
          <p:nvPr/>
        </p:nvSpPr>
        <p:spPr>
          <a:xfrm>
            <a:off x="3564036" y="527260"/>
            <a:ext cx="498765" cy="4987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500" b="1" i="1" dirty="0">
                <a:solidFill>
                  <a:schemeClr val="bg1"/>
                </a:solidFill>
                <a:latin typeface="汉仪旗黑X1-55W" panose="00020600040101010101" pitchFamily="18" charset="-122"/>
                <a:ea typeface="汉仪旗黑X1-55W" panose="00020600040101010101" pitchFamily="18" charset="-122"/>
                <a:cs typeface="Arial" panose="020B0604020202020204" pitchFamily="34" charset="0"/>
                <a:sym typeface="汉仪旗黑X1-55W" panose="00020600040101010101" pitchFamily="18" charset="-122"/>
              </a:rPr>
              <a:t>01</a:t>
            </a:r>
            <a:endParaRPr kumimoji="1" lang="zh-CN" altLang="en-US" sz="1500" dirty="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11" name="Shape6"/>
          <p:cNvSpPr/>
          <p:nvPr/>
        </p:nvSpPr>
        <p:spPr>
          <a:xfrm>
            <a:off x="3564036" y="1390003"/>
            <a:ext cx="498765" cy="49876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500" b="1" i="1" dirty="0">
                <a:solidFill>
                  <a:schemeClr val="bg1"/>
                </a:solidFill>
                <a:latin typeface="汉仪旗黑X1-55W" panose="00020600040101010101" pitchFamily="18" charset="-122"/>
                <a:ea typeface="汉仪旗黑X1-55W" panose="00020600040101010101" pitchFamily="18" charset="-122"/>
                <a:cs typeface="Arial" panose="020B0604020202020204" pitchFamily="34" charset="0"/>
                <a:sym typeface="汉仪旗黑X1-55W" panose="00020600040101010101" pitchFamily="18" charset="-122"/>
              </a:rPr>
              <a:t>02</a:t>
            </a:r>
            <a:endParaRPr kumimoji="1" lang="zh-CN" altLang="en-US" sz="1500" dirty="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12" name="Shape7"/>
          <p:cNvSpPr/>
          <p:nvPr/>
        </p:nvSpPr>
        <p:spPr>
          <a:xfrm>
            <a:off x="3564036" y="2252746"/>
            <a:ext cx="498765" cy="4987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500" b="1" i="1" dirty="0">
                <a:solidFill>
                  <a:schemeClr val="bg1"/>
                </a:solidFill>
                <a:latin typeface="汉仪旗黑X1-55W" panose="00020600040101010101" pitchFamily="18" charset="-122"/>
                <a:ea typeface="汉仪旗黑X1-55W" panose="00020600040101010101" pitchFamily="18" charset="-122"/>
                <a:cs typeface="Arial" panose="020B0604020202020204" pitchFamily="34" charset="0"/>
                <a:sym typeface="汉仪旗黑X1-55W" panose="00020600040101010101" pitchFamily="18" charset="-122"/>
              </a:rPr>
              <a:t>03</a:t>
            </a:r>
            <a:endParaRPr kumimoji="1" lang="zh-CN" altLang="en-US" sz="1500" dirty="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14" name="Shape9"/>
          <p:cNvSpPr txBox="1"/>
          <p:nvPr/>
        </p:nvSpPr>
        <p:spPr>
          <a:xfrm>
            <a:off x="4239449" y="462391"/>
            <a:ext cx="2800349" cy="414020"/>
          </a:xfrm>
          <a:prstGeom prst="rect">
            <a:avLst/>
          </a:prstGeom>
          <a:noFill/>
        </p:spPr>
        <p:txBody>
          <a:bodyPr wrap="square" rtlCol="0">
            <a:spAutoFit/>
          </a:bodyPr>
          <a:lstStyle/>
          <a:p>
            <a:r>
              <a:rPr lang="zh-CN" altLang="en-US" sz="2100" b="1" dirty="0">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rPr>
              <a:t>东方大地简介</a:t>
            </a:r>
            <a:endParaRPr lang="zh-CN" altLang="en-US" sz="2100" b="1" dirty="0">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endParaRPr>
          </a:p>
        </p:txBody>
      </p:sp>
      <p:sp>
        <p:nvSpPr>
          <p:cNvPr id="1048615" name="Shape10"/>
          <p:cNvSpPr/>
          <p:nvPr/>
        </p:nvSpPr>
        <p:spPr>
          <a:xfrm>
            <a:off x="4258499" y="825924"/>
            <a:ext cx="2982188" cy="218440"/>
          </a:xfrm>
          <a:prstGeom prst="rect">
            <a:avLst/>
          </a:prstGeom>
        </p:spPr>
        <p:txBody>
          <a:bodyPr wrap="square">
            <a:spAutoFit/>
          </a:bodyPr>
          <a:lstStyle/>
          <a:p>
            <a:pPr algn="l"/>
            <a:r>
              <a:rPr lang="zh-CN" altLang="en-US" sz="825"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微软雅黑" panose="020B0503020204020204" charset="-122"/>
              </a:rPr>
              <a:t>第一批全国性保险经纪公司</a:t>
            </a:r>
            <a:endParaRPr lang="zh-CN" altLang="en-US" sz="825"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endParaRPr>
          </a:p>
        </p:txBody>
      </p:sp>
      <p:sp>
        <p:nvSpPr>
          <p:cNvPr id="1048616" name="Shape11"/>
          <p:cNvSpPr txBox="1"/>
          <p:nvPr/>
        </p:nvSpPr>
        <p:spPr>
          <a:xfrm>
            <a:off x="4239449" y="1338049"/>
            <a:ext cx="2800349" cy="414020"/>
          </a:xfrm>
          <a:prstGeom prst="rect">
            <a:avLst/>
          </a:prstGeom>
          <a:noFill/>
        </p:spPr>
        <p:txBody>
          <a:bodyPr wrap="square" rtlCol="0">
            <a:spAutoFit/>
          </a:bodyPr>
          <a:lstStyle/>
          <a:p>
            <a:r>
              <a:rPr lang="zh-CN" altLang="en-US" sz="2100" b="1" dirty="0">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rPr>
              <a:t>承保公司简介</a:t>
            </a:r>
            <a:endParaRPr lang="zh-CN" altLang="en-US" sz="2100" b="1" dirty="0">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endParaRPr>
          </a:p>
        </p:txBody>
      </p:sp>
      <p:sp>
        <p:nvSpPr>
          <p:cNvPr id="1048617" name="Shape12"/>
          <p:cNvSpPr/>
          <p:nvPr/>
        </p:nvSpPr>
        <p:spPr>
          <a:xfrm>
            <a:off x="4255641" y="1701581"/>
            <a:ext cx="2982188" cy="244475"/>
          </a:xfrm>
          <a:prstGeom prst="rect">
            <a:avLst/>
          </a:prstGeom>
        </p:spPr>
        <p:txBody>
          <a:bodyPr wrap="square">
            <a:spAutoFit/>
          </a:bodyPr>
          <a:lstStyle/>
          <a:p>
            <a:pPr>
              <a:lnSpc>
                <a:spcPct val="120000"/>
              </a:lnSpc>
            </a:pPr>
            <a:r>
              <a:rPr lang="zh-CN" altLang="en-US" sz="825" i="1"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鼎和保险</a:t>
            </a:r>
            <a:r>
              <a:rPr lang="en-US" altLang="zh-CN" sz="825" i="1"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a:t>
            </a:r>
            <a:r>
              <a:rPr lang="zh-CN" altLang="en-US" sz="825"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rPr>
              <a:t>能源行业保险专家</a:t>
            </a:r>
            <a:endParaRPr lang="en-US" altLang="zh-CN" sz="825"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endParaRPr>
          </a:p>
        </p:txBody>
      </p:sp>
      <p:sp>
        <p:nvSpPr>
          <p:cNvPr id="1048618" name="Shape13"/>
          <p:cNvSpPr txBox="1"/>
          <p:nvPr/>
        </p:nvSpPr>
        <p:spPr>
          <a:xfrm>
            <a:off x="4239449" y="2213706"/>
            <a:ext cx="2800349" cy="414020"/>
          </a:xfrm>
          <a:prstGeom prst="rect">
            <a:avLst/>
          </a:prstGeom>
          <a:noFill/>
        </p:spPr>
        <p:txBody>
          <a:bodyPr wrap="square" rtlCol="0">
            <a:spAutoFit/>
          </a:bodyPr>
          <a:lstStyle/>
          <a:p>
            <a:r>
              <a:rPr lang="zh-CN" altLang="en-US" sz="2100" b="1">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rPr>
              <a:t>保险方案</a:t>
            </a:r>
            <a:endParaRPr lang="zh-CN" altLang="en-US" sz="2100" b="1" dirty="0">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endParaRPr>
          </a:p>
        </p:txBody>
      </p:sp>
      <p:sp>
        <p:nvSpPr>
          <p:cNvPr id="1048619" name="Shape14"/>
          <p:cNvSpPr/>
          <p:nvPr/>
        </p:nvSpPr>
        <p:spPr>
          <a:xfrm>
            <a:off x="4245799" y="2577239"/>
            <a:ext cx="2982188" cy="244475"/>
          </a:xfrm>
          <a:prstGeom prst="rect">
            <a:avLst/>
          </a:prstGeom>
        </p:spPr>
        <p:txBody>
          <a:bodyPr wrap="square">
            <a:spAutoFit/>
          </a:bodyPr>
          <a:lstStyle/>
          <a:p>
            <a:pPr>
              <a:lnSpc>
                <a:spcPct val="120000"/>
              </a:lnSpc>
            </a:pPr>
            <a:r>
              <a:rPr lang="en-US" altLang="zh-CN" sz="825"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rPr>
              <a:t>特种设备第三者责任保险</a:t>
            </a:r>
            <a:endParaRPr lang="zh-CN" altLang="en-US" sz="825"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endParaRPr>
          </a:p>
        </p:txBody>
      </p:sp>
      <p:sp>
        <p:nvSpPr>
          <p:cNvPr id="2" name="Shape6"/>
          <p:cNvSpPr/>
          <p:nvPr>
            <p:custDataLst>
              <p:tags r:id="rId1"/>
            </p:custDataLst>
          </p:nvPr>
        </p:nvSpPr>
        <p:spPr>
          <a:xfrm>
            <a:off x="3583086" y="3104503"/>
            <a:ext cx="498765" cy="49876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en-US" altLang="zh-CN" sz="1500" b="1" i="1" dirty="0">
                <a:solidFill>
                  <a:schemeClr val="bg1"/>
                </a:solidFill>
                <a:latin typeface="汉仪旗黑X1-55W" panose="00020600040101010101" pitchFamily="18" charset="-122"/>
                <a:ea typeface="汉仪旗黑X1-55W" panose="00020600040101010101" pitchFamily="18" charset="-122"/>
                <a:cs typeface="Arial" panose="020B0604020202020204" pitchFamily="34" charset="0"/>
                <a:sym typeface="汉仪旗黑X1-55W" panose="00020600040101010101" pitchFamily="18" charset="-122"/>
              </a:rPr>
              <a:t>04</a:t>
            </a:r>
            <a:endParaRPr kumimoji="1" lang="zh-CN" altLang="en-US" sz="1500" dirty="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3" name="Shape11"/>
          <p:cNvSpPr txBox="1"/>
          <p:nvPr>
            <p:custDataLst>
              <p:tags r:id="rId2"/>
            </p:custDataLst>
          </p:nvPr>
        </p:nvSpPr>
        <p:spPr>
          <a:xfrm>
            <a:off x="4258499" y="3052549"/>
            <a:ext cx="2800349" cy="414020"/>
          </a:xfrm>
          <a:prstGeom prst="rect">
            <a:avLst/>
          </a:prstGeom>
          <a:noFill/>
        </p:spPr>
        <p:txBody>
          <a:bodyPr wrap="square" rtlCol="0">
            <a:spAutoFit/>
          </a:bodyPr>
          <a:p>
            <a:r>
              <a:rPr lang="zh-CN" altLang="en-US" sz="2100" b="1">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rPr>
              <a:t>一站式服务流程</a:t>
            </a:r>
            <a:endParaRPr lang="zh-CN" altLang="en-US" sz="2100" b="1" dirty="0">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endParaRPr>
          </a:p>
        </p:txBody>
      </p:sp>
      <p:sp>
        <p:nvSpPr>
          <p:cNvPr id="4" name="Shape12"/>
          <p:cNvSpPr/>
          <p:nvPr>
            <p:custDataLst>
              <p:tags r:id="rId3"/>
            </p:custDataLst>
          </p:nvPr>
        </p:nvSpPr>
        <p:spPr>
          <a:xfrm>
            <a:off x="4274691" y="3416081"/>
            <a:ext cx="2982188" cy="244475"/>
          </a:xfrm>
          <a:prstGeom prst="rect">
            <a:avLst/>
          </a:prstGeom>
        </p:spPr>
        <p:txBody>
          <a:bodyPr wrap="square">
            <a:spAutoFit/>
          </a:bodyPr>
          <a:p>
            <a:pPr>
              <a:lnSpc>
                <a:spcPct val="120000"/>
              </a:lnSpc>
            </a:pPr>
            <a:r>
              <a:rPr lang="zh-CN" altLang="en-US" sz="825"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rPr>
              <a:t>承保、理赔全流程陪同，团队一站式服务</a:t>
            </a:r>
            <a:endParaRPr lang="en-US" altLang="zh-CN" sz="825"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endParaRPr>
          </a:p>
        </p:txBody>
      </p:sp>
      <p:sp>
        <p:nvSpPr>
          <p:cNvPr id="5" name="Shape7"/>
          <p:cNvSpPr/>
          <p:nvPr/>
        </p:nvSpPr>
        <p:spPr>
          <a:xfrm>
            <a:off x="3579276" y="3944386"/>
            <a:ext cx="498765" cy="4987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en-US" altLang="zh-CN" sz="1500" b="1" i="1" dirty="0">
                <a:solidFill>
                  <a:schemeClr val="bg1"/>
                </a:solidFill>
                <a:latin typeface="汉仪旗黑X1-55W" panose="00020600040101010101" pitchFamily="18" charset="-122"/>
                <a:ea typeface="汉仪旗黑X1-55W" panose="00020600040101010101" pitchFamily="18" charset="-122"/>
                <a:cs typeface="Arial" panose="020B0604020202020204" pitchFamily="34" charset="0"/>
                <a:sym typeface="汉仪旗黑X1-55W" panose="00020600040101010101" pitchFamily="18" charset="-122"/>
              </a:rPr>
              <a:t>03</a:t>
            </a:r>
            <a:endParaRPr kumimoji="1" lang="zh-CN" altLang="en-US" sz="1500" dirty="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6" name="Shape13"/>
          <p:cNvSpPr txBox="1"/>
          <p:nvPr/>
        </p:nvSpPr>
        <p:spPr>
          <a:xfrm>
            <a:off x="4254689" y="3905346"/>
            <a:ext cx="2800349" cy="414020"/>
          </a:xfrm>
          <a:prstGeom prst="rect">
            <a:avLst/>
          </a:prstGeom>
          <a:noFill/>
        </p:spPr>
        <p:txBody>
          <a:bodyPr wrap="square" rtlCol="0">
            <a:spAutoFit/>
          </a:bodyPr>
          <a:p>
            <a:r>
              <a:rPr lang="zh-CN" altLang="en-US" sz="2100" b="1">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rPr>
              <a:t>拓展模式</a:t>
            </a:r>
            <a:endParaRPr lang="zh-CN" altLang="en-US" sz="2100" b="1">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endParaRPr>
          </a:p>
        </p:txBody>
      </p:sp>
      <p:sp>
        <p:nvSpPr>
          <p:cNvPr id="7" name="Shape14"/>
          <p:cNvSpPr/>
          <p:nvPr/>
        </p:nvSpPr>
        <p:spPr>
          <a:xfrm>
            <a:off x="4261039" y="4268879"/>
            <a:ext cx="2982188" cy="244475"/>
          </a:xfrm>
          <a:prstGeom prst="rect">
            <a:avLst/>
          </a:prstGeom>
        </p:spPr>
        <p:txBody>
          <a:bodyPr wrap="square">
            <a:spAutoFit/>
          </a:bodyPr>
          <a:p>
            <a:pPr>
              <a:lnSpc>
                <a:spcPct val="120000"/>
              </a:lnSpc>
            </a:pPr>
            <a:r>
              <a:rPr lang="zh-CN" altLang="en-US" sz="825"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rPr>
              <a:t>对接渠道资源</a:t>
            </a:r>
            <a:r>
              <a:rPr lang="zh-CN" altLang="en-US" sz="825"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rPr>
              <a:t>方式</a:t>
            </a:r>
            <a:endParaRPr lang="zh-CN" altLang="en-US" sz="825"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Shape4"/>
          <p:cNvGrpSpPr/>
          <p:nvPr/>
        </p:nvGrpSpPr>
        <p:grpSpPr>
          <a:xfrm>
            <a:off x="299618" y="412859"/>
            <a:ext cx="824633" cy="144001"/>
            <a:chOff x="7922707" y="4563003"/>
            <a:chExt cx="824632" cy="144000"/>
          </a:xfrm>
        </p:grpSpPr>
        <p:sp>
          <p:nvSpPr>
            <p:cNvPr id="1048758" name="Shape4"/>
            <p:cNvSpPr/>
            <p:nvPr>
              <p:custDataLst>
                <p:tags r:id="rId1"/>
              </p:custDataLst>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59" name="Shape4"/>
            <p:cNvSpPr/>
            <p:nvPr>
              <p:custDataLst>
                <p:tags r:id="rId2"/>
              </p:custDataLst>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60" name="Shape4"/>
            <p:cNvSpPr/>
            <p:nvPr>
              <p:custDataLst>
                <p:tags r:id="rId3"/>
              </p:custDataLst>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42" name="Shape4"/>
            <p:cNvCxnSpPr/>
            <p:nvPr>
              <p:custDataLst>
                <p:tags r:id="rId4"/>
              </p:custDataLst>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43" name="Shape4"/>
            <p:cNvCxnSpPr/>
            <p:nvPr>
              <p:custDataLst>
                <p:tags r:id="rId5"/>
              </p:custDataLst>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761" name="Shape5"/>
          <p:cNvSpPr txBox="1"/>
          <p:nvPr>
            <p:custDataLst>
              <p:tags r:id="rId6"/>
            </p:custDataLst>
          </p:nvPr>
        </p:nvSpPr>
        <p:spPr>
          <a:xfrm>
            <a:off x="1150620" y="346075"/>
            <a:ext cx="3912235"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平安财险</a:t>
            </a:r>
            <a:r>
              <a:rPr lang="en-US" altLang="zh-CN" sz="1500" dirty="0">
                <a:latin typeface="微软雅黑" panose="020B0503020204020204" charset="-122"/>
                <a:ea typeface="微软雅黑" panose="020B0503020204020204" charset="-122"/>
                <a:sym typeface="汉仪旗黑X1-55W" panose="00020600040101010101" pitchFamily="18" charset="-122"/>
              </a:rPr>
              <a:t>--</a:t>
            </a:r>
            <a:r>
              <a:rPr lang="zh-CN" altLang="en-US" sz="1500" dirty="0">
                <a:latin typeface="微软雅黑" panose="020B0503020204020204" charset="-122"/>
                <a:ea typeface="微软雅黑" panose="020B0503020204020204" charset="-122"/>
                <a:sym typeface="汉仪旗黑X1-55W" panose="00020600040101010101" pitchFamily="18" charset="-122"/>
              </a:rPr>
              <a:t>民用家财险保险方案</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sp>
        <p:nvSpPr>
          <p:cNvPr id="2" name="文本框 1"/>
          <p:cNvSpPr txBox="1"/>
          <p:nvPr/>
        </p:nvSpPr>
        <p:spPr>
          <a:xfrm>
            <a:off x="474345" y="746760"/>
            <a:ext cx="8185150" cy="3646170"/>
          </a:xfrm>
          <a:prstGeom prst="rect">
            <a:avLst/>
          </a:prstGeom>
          <a:noFill/>
        </p:spPr>
        <p:txBody>
          <a:bodyPr wrap="square" rtlCol="0" anchor="t">
            <a:spAutoFit/>
          </a:bodyPr>
          <a:p>
            <a:pPr algn="just">
              <a:lnSpc>
                <a:spcPct val="150000"/>
              </a:lnSpc>
            </a:pPr>
            <a:r>
              <a:rPr lang="zh-CN" altLang="en-US" sz="1400">
                <a:solidFill>
                  <a:schemeClr val="tx1"/>
                </a:solidFill>
              </a:rPr>
              <a:t>1、本产品每一标的限投保1份，多投无效。</a:t>
            </a:r>
            <a:endParaRPr lang="zh-CN" altLang="en-US" sz="1400">
              <a:solidFill>
                <a:schemeClr val="tx1"/>
              </a:solidFill>
            </a:endParaRPr>
          </a:p>
          <a:p>
            <a:pPr algn="just">
              <a:lnSpc>
                <a:spcPct val="150000"/>
              </a:lnSpc>
            </a:pPr>
            <a:r>
              <a:rPr lang="zh-CN" altLang="en-US" sz="1400">
                <a:solidFill>
                  <a:schemeClr val="tx1"/>
                </a:solidFill>
              </a:rPr>
              <a:t>2、本保险合同仅承保保单载明地址的被保险人拥有合法产权的房屋，适用钢混、砖混结构，业主自有用于居住用途的房屋，不承保用于生产经营的房屋。</a:t>
            </a:r>
            <a:endParaRPr lang="zh-CN" altLang="en-US" sz="1400">
              <a:solidFill>
                <a:schemeClr val="tx1"/>
              </a:solidFill>
            </a:endParaRPr>
          </a:p>
          <a:p>
            <a:pPr algn="just">
              <a:lnSpc>
                <a:spcPct val="150000"/>
              </a:lnSpc>
            </a:pPr>
            <a:r>
              <a:rPr lang="zh-CN" altLang="en-US" sz="1400">
                <a:solidFill>
                  <a:schemeClr val="tx1"/>
                </a:solidFill>
              </a:rPr>
              <a:t>3、在保单载明的住房内因将燃气作为燃料使用而发生意外事故，导致被保险人及其家人身故、伤残或医疗费用支出的，保险公司按保单约定赔付，其中意外伤害每人限额15万元,累计限额15万元；意外医疗每人限额2万元,累计限额2万元。</a:t>
            </a:r>
            <a:endParaRPr lang="zh-CN" altLang="en-US" sz="1400">
              <a:solidFill>
                <a:schemeClr val="tx1"/>
              </a:solidFill>
            </a:endParaRPr>
          </a:p>
          <a:p>
            <a:pPr algn="just">
              <a:lnSpc>
                <a:spcPct val="150000"/>
              </a:lnSpc>
            </a:pPr>
            <a:r>
              <a:rPr lang="zh-CN" altLang="en-US" sz="1400">
                <a:solidFill>
                  <a:schemeClr val="tx1"/>
                </a:solidFill>
              </a:rPr>
              <a:t>4、在保单载明的住房内因将燃气作为燃料使用而发生意外事故，导致第三者身故、伤残或医疗费用支出的，保险公司按保单约定赔付，每人限额15万元,累计限额15万元。</a:t>
            </a:r>
            <a:endParaRPr lang="zh-CN" altLang="en-US" sz="1400">
              <a:solidFill>
                <a:schemeClr val="tx1"/>
              </a:solidFill>
            </a:endParaRPr>
          </a:p>
          <a:p>
            <a:pPr algn="just">
              <a:lnSpc>
                <a:spcPct val="150000"/>
              </a:lnSpc>
            </a:pPr>
            <a:r>
              <a:rPr lang="zh-CN" altLang="en-US" sz="1400">
                <a:solidFill>
                  <a:schemeClr val="tx1"/>
                </a:solidFill>
              </a:rPr>
              <a:t>5、本产品附加家庭财产盗抢损失保险中，便携式家用电器保额最高不超过4000元，现金、金银珠宝、首饰、手表保额最高不超过1000元。</a:t>
            </a:r>
            <a:endParaRPr lang="zh-CN" altLang="en-US" sz="1400">
              <a:solidFill>
                <a:schemeClr val="tx1"/>
              </a:solidFill>
            </a:endParaRPr>
          </a:p>
          <a:p>
            <a:pPr algn="just">
              <a:lnSpc>
                <a:spcPct val="150000"/>
              </a:lnSpc>
            </a:pPr>
            <a:r>
              <a:rPr lang="zh-CN" altLang="en-US" sz="1400">
                <a:solidFill>
                  <a:schemeClr val="tx1"/>
                </a:solidFill>
              </a:rPr>
              <a:t>6、湖北保险行业协会投诉电话88012378。</a:t>
            </a:r>
            <a:endParaRPr lang="zh-CN" altLang="en-US" sz="1400">
              <a:solidFill>
                <a:schemeClr val="tx1"/>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Shape4"/>
          <p:cNvGrpSpPr/>
          <p:nvPr/>
        </p:nvGrpSpPr>
        <p:grpSpPr>
          <a:xfrm>
            <a:off x="299618" y="412859"/>
            <a:ext cx="824633" cy="144001"/>
            <a:chOff x="7922707" y="4563003"/>
            <a:chExt cx="824632" cy="144000"/>
          </a:xfrm>
        </p:grpSpPr>
        <p:sp>
          <p:nvSpPr>
            <p:cNvPr id="1048758" name="Shape4"/>
            <p:cNvSpPr/>
            <p:nvPr>
              <p:custDataLst>
                <p:tags r:id="rId1"/>
              </p:custDataLst>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59" name="Shape4"/>
            <p:cNvSpPr/>
            <p:nvPr>
              <p:custDataLst>
                <p:tags r:id="rId2"/>
              </p:custDataLst>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60" name="Shape4"/>
            <p:cNvSpPr/>
            <p:nvPr>
              <p:custDataLst>
                <p:tags r:id="rId3"/>
              </p:custDataLst>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42" name="Shape4"/>
            <p:cNvCxnSpPr/>
            <p:nvPr>
              <p:custDataLst>
                <p:tags r:id="rId4"/>
              </p:custDataLst>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43" name="Shape4"/>
            <p:cNvCxnSpPr/>
            <p:nvPr>
              <p:custDataLst>
                <p:tags r:id="rId5"/>
              </p:custDataLst>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761" name="Shape5"/>
          <p:cNvSpPr txBox="1"/>
          <p:nvPr>
            <p:custDataLst>
              <p:tags r:id="rId6"/>
            </p:custDataLst>
          </p:nvPr>
        </p:nvSpPr>
        <p:spPr>
          <a:xfrm>
            <a:off x="1150620" y="346075"/>
            <a:ext cx="3912235" cy="321945"/>
          </a:xfrm>
          <a:prstGeom prst="rect">
            <a:avLst/>
          </a:prstGeom>
          <a:noFill/>
        </p:spPr>
        <p:txBody>
          <a:bodyPr wrap="square" rtlCol="0">
            <a:spAutoFit/>
          </a:bodyPr>
          <a:lstStyle/>
          <a:p>
            <a:r>
              <a:rPr lang="zh-CN" sz="1500" dirty="0">
                <a:latin typeface="微软雅黑" panose="020B0503020204020204" charset="-122"/>
                <a:ea typeface="微软雅黑" panose="020B0503020204020204" charset="-122"/>
                <a:sym typeface="汉仪旗黑X1-55W" panose="00020600040101010101" pitchFamily="18" charset="-122"/>
              </a:rPr>
              <a:t>代理人认证操作指引</a:t>
            </a:r>
            <a:endParaRPr lang="zh-CN" sz="1500" dirty="0">
              <a:latin typeface="微软雅黑" panose="020B0503020204020204" charset="-122"/>
              <a:ea typeface="微软雅黑" panose="020B0503020204020204" charset="-122"/>
              <a:sym typeface="汉仪旗黑X1-55W" panose="00020600040101010101" pitchFamily="18" charset="-122"/>
            </a:endParaRPr>
          </a:p>
        </p:txBody>
      </p:sp>
      <p:pic>
        <p:nvPicPr>
          <p:cNvPr id="5" name="图片 4" descr="微信图片_20240909145148"/>
          <p:cNvPicPr>
            <a:picLocks noChangeAspect="1"/>
          </p:cNvPicPr>
          <p:nvPr/>
        </p:nvPicPr>
        <p:blipFill>
          <a:blip r:embed="rId7"/>
          <a:srcRect b="50000"/>
          <a:stretch>
            <a:fillRect/>
          </a:stretch>
        </p:blipFill>
        <p:spPr>
          <a:xfrm>
            <a:off x="954405" y="718185"/>
            <a:ext cx="3362062" cy="3780000"/>
          </a:xfrm>
          <a:prstGeom prst="rect">
            <a:avLst/>
          </a:prstGeom>
          <a:ln w="12700" cmpd="sng">
            <a:solidFill>
              <a:schemeClr val="tx1"/>
            </a:solidFill>
            <a:prstDash val="solid"/>
          </a:ln>
        </p:spPr>
      </p:pic>
      <p:pic>
        <p:nvPicPr>
          <p:cNvPr id="6" name="图片 5" descr="微信图片_20240909145148"/>
          <p:cNvPicPr>
            <a:picLocks noChangeAspect="1"/>
          </p:cNvPicPr>
          <p:nvPr/>
        </p:nvPicPr>
        <p:blipFill>
          <a:blip r:embed="rId7"/>
          <a:srcRect t="51111"/>
          <a:stretch>
            <a:fillRect/>
          </a:stretch>
        </p:blipFill>
        <p:spPr>
          <a:xfrm>
            <a:off x="4711065" y="718185"/>
            <a:ext cx="3438273" cy="3780000"/>
          </a:xfrm>
          <a:prstGeom prst="rect">
            <a:avLst/>
          </a:prstGeom>
          <a:ln w="12700">
            <a:solidFill>
              <a:schemeClr val="tx1"/>
            </a:solidFill>
          </a:ln>
        </p:spPr>
      </p:pic>
      <p:pic>
        <p:nvPicPr>
          <p:cNvPr id="7" name="图片 6" descr="微信截图_20240604155649"/>
          <p:cNvPicPr>
            <a:picLocks noChangeAspect="1"/>
          </p:cNvPicPr>
          <p:nvPr>
            <p:custDataLst>
              <p:tags r:id="rId8"/>
            </p:custDataLst>
          </p:nvPr>
        </p:nvPicPr>
        <p:blipFill>
          <a:blip r:embed="rId9"/>
          <a:stretch>
            <a:fillRect/>
          </a:stretch>
        </p:blipFill>
        <p:spPr>
          <a:xfrm>
            <a:off x="7407275" y="4509770"/>
            <a:ext cx="1733550" cy="633730"/>
          </a:xfrm>
          <a:prstGeom prst="rect">
            <a:avLst/>
          </a:prstGeo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76" name="Shape1"/>
          <p:cNvSpPr/>
          <p:nvPr/>
        </p:nvSpPr>
        <p:spPr>
          <a:xfrm rot="17882113" flipH="1">
            <a:off x="-1914221" y="661306"/>
            <a:ext cx="5348278" cy="3704140"/>
          </a:xfrm>
          <a:custGeom>
            <a:avLst/>
            <a:gdLst>
              <a:gd name="connsiteX0" fmla="*/ 1083810 w 7131037"/>
              <a:gd name="connsiteY0" fmla="*/ 0 h 4938853"/>
              <a:gd name="connsiteX1" fmla="*/ 0 w 7131037"/>
              <a:gd name="connsiteY1" fmla="*/ 2035332 h 4938853"/>
              <a:gd name="connsiteX2" fmla="*/ 100465 w 7131037"/>
              <a:gd name="connsiteY2" fmla="*/ 2136288 h 4938853"/>
              <a:gd name="connsiteX3" fmla="*/ 654764 w 7131037"/>
              <a:gd name="connsiteY3" fmla="*/ 2506857 h 4938853"/>
              <a:gd name="connsiteX4" fmla="*/ 3360401 w 7131037"/>
              <a:gd name="connsiteY4" fmla="*/ 2563592 h 4938853"/>
              <a:gd name="connsiteX5" fmla="*/ 5283416 w 7131037"/>
              <a:gd name="connsiteY5" fmla="*/ 4738430 h 4938853"/>
              <a:gd name="connsiteX6" fmla="*/ 6032094 w 7131037"/>
              <a:gd name="connsiteY6" fmla="*/ 4913222 h 4938853"/>
              <a:gd name="connsiteX7" fmla="*/ 6215824 w 7131037"/>
              <a:gd name="connsiteY7" fmla="*/ 4938853 h 4938853"/>
              <a:gd name="connsiteX8" fmla="*/ 7131037 w 7131037"/>
              <a:gd name="connsiteY8" fmla="*/ 3220137 h 4938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1037" h="4938853">
                <a:moveTo>
                  <a:pt x="1083810" y="0"/>
                </a:moveTo>
                <a:lnTo>
                  <a:pt x="0" y="2035332"/>
                </a:lnTo>
                <a:lnTo>
                  <a:pt x="100465" y="2136288"/>
                </a:lnTo>
                <a:cubicBezTo>
                  <a:pt x="261170" y="2287443"/>
                  <a:pt x="444574" y="2417973"/>
                  <a:pt x="654764" y="2506857"/>
                </a:cubicBezTo>
                <a:cubicBezTo>
                  <a:pt x="1495524" y="2862396"/>
                  <a:pt x="2434671" y="2117278"/>
                  <a:pt x="3360401" y="2563592"/>
                </a:cubicBezTo>
                <a:cubicBezTo>
                  <a:pt x="4286132" y="3009907"/>
                  <a:pt x="4120663" y="4356415"/>
                  <a:pt x="5283416" y="4738430"/>
                </a:cubicBezTo>
                <a:cubicBezTo>
                  <a:pt x="5501433" y="4810058"/>
                  <a:pt x="5757183" y="4869053"/>
                  <a:pt x="6032094" y="4913222"/>
                </a:cubicBezTo>
                <a:lnTo>
                  <a:pt x="6215824" y="4938853"/>
                </a:lnTo>
                <a:lnTo>
                  <a:pt x="7131037" y="322013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77" name="Shape2"/>
          <p:cNvSpPr/>
          <p:nvPr/>
        </p:nvSpPr>
        <p:spPr>
          <a:xfrm>
            <a:off x="2211422" y="1591535"/>
            <a:ext cx="1960433" cy="1960431"/>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a:latin typeface="汉仪旗黑X1-55W" panose="00020600040101010101" pitchFamily="18" charset="-122"/>
              <a:ea typeface="汉仪旗黑X1-55W" panose="00020600040101010101" pitchFamily="18" charset="-122"/>
              <a:cs typeface="汉仪润圆-65简" panose="00020600040101010101" pitchFamily="18" charset="-122"/>
              <a:sym typeface="汉仪旗黑X1-55W" panose="00020600040101010101" pitchFamily="18" charset="-122"/>
            </a:endParaRPr>
          </a:p>
        </p:txBody>
      </p:sp>
      <p:sp>
        <p:nvSpPr>
          <p:cNvPr id="1048778" name="Shape3"/>
          <p:cNvSpPr/>
          <p:nvPr/>
        </p:nvSpPr>
        <p:spPr>
          <a:xfrm>
            <a:off x="2357732" y="1759300"/>
            <a:ext cx="1667813" cy="1667813"/>
          </a:xfrm>
          <a:prstGeom prst="ellipse">
            <a:avLst/>
          </a:prstGeom>
          <a:solidFill>
            <a:schemeClr val="accent1"/>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90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79" name="Shape4"/>
          <p:cNvSpPr txBox="1"/>
          <p:nvPr/>
        </p:nvSpPr>
        <p:spPr>
          <a:xfrm>
            <a:off x="2715010" y="2190875"/>
            <a:ext cx="953255" cy="783590"/>
          </a:xfrm>
          <a:prstGeom prst="rect">
            <a:avLst/>
          </a:prstGeom>
          <a:noFill/>
        </p:spPr>
        <p:txBody>
          <a:bodyPr wrap="square" rtlCol="0">
            <a:spAutoFit/>
          </a:bodyPr>
          <a:lstStyle/>
          <a:p>
            <a:pPr algn="ctr"/>
            <a:r>
              <a:rPr lang="en-US" altLang="zh-CN" sz="4500" dirty="0">
                <a:solidFill>
                  <a:schemeClr val="bg1"/>
                </a:solidFill>
                <a:latin typeface="汉仪旗黑X1-95W" panose="00020600040101010101" pitchFamily="18" charset="-122"/>
                <a:ea typeface="汉仪旗黑X1-95W" panose="00020600040101010101" pitchFamily="18" charset="-122"/>
                <a:sym typeface="汉仪旗黑X1-55W" panose="00020600040101010101" pitchFamily="18" charset="-122"/>
              </a:rPr>
              <a:t>04</a:t>
            </a:r>
            <a:endParaRPr lang="zh-CN" altLang="en-US" sz="4500" dirty="0">
              <a:solidFill>
                <a:schemeClr val="bg1"/>
              </a:solidFill>
              <a:latin typeface="汉仪旗黑X1-95W" panose="00020600040101010101" pitchFamily="18" charset="-122"/>
              <a:ea typeface="汉仪旗黑X1-95W" panose="00020600040101010101" pitchFamily="18" charset="-122"/>
              <a:sym typeface="汉仪旗黑X1-55W" panose="00020600040101010101" pitchFamily="18" charset="-122"/>
            </a:endParaRPr>
          </a:p>
        </p:txBody>
      </p:sp>
      <p:sp>
        <p:nvSpPr>
          <p:cNvPr id="1048780" name="Shape5"/>
          <p:cNvSpPr txBox="1"/>
          <p:nvPr/>
        </p:nvSpPr>
        <p:spPr>
          <a:xfrm>
            <a:off x="4622165" y="1599565"/>
            <a:ext cx="2560955" cy="460375"/>
          </a:xfrm>
          <a:prstGeom prst="rect">
            <a:avLst/>
          </a:prstGeom>
          <a:noFill/>
        </p:spPr>
        <p:txBody>
          <a:bodyPr wrap="square" rtlCol="0">
            <a:spAutoFit/>
            <a:scene3d>
              <a:camera prst="orthographicFront"/>
              <a:lightRig rig="threePt" dir="t"/>
            </a:scene3d>
            <a:sp3d contourW="12700"/>
          </a:bodyPr>
          <a:lstStyle/>
          <a:p>
            <a:r>
              <a:rPr lang="zh-CN" altLang="en-US" sz="2400" b="1">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一站式服务流程</a:t>
            </a:r>
            <a:endParaRPr lang="zh-CN" altLang="en-US" sz="2400" b="1" dirty="0">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81" name="Shape6"/>
          <p:cNvSpPr/>
          <p:nvPr/>
        </p:nvSpPr>
        <p:spPr>
          <a:xfrm>
            <a:off x="4638305" y="2019640"/>
            <a:ext cx="2700569" cy="333375"/>
          </a:xfrm>
          <a:prstGeom prst="rect">
            <a:avLst/>
          </a:prstGeom>
        </p:spPr>
        <p:txBody>
          <a:bodyPr wrap="square">
            <a:spAutoFit/>
          </a:bodyPr>
          <a:lstStyle/>
          <a:p>
            <a:pPr>
              <a:lnSpc>
                <a:spcPct val="150000"/>
              </a:lnSpc>
            </a:pPr>
            <a:r>
              <a:rPr lang="zh-CN" altLang="en-US" sz="1050"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rPr>
              <a:t>专属团队一站式服务</a:t>
            </a:r>
            <a:endParaRPr lang="zh-CN" altLang="en-US" sz="1050" i="1"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28" name="Shape7"/>
          <p:cNvSpPr txBox="1"/>
          <p:nvPr/>
        </p:nvSpPr>
        <p:spPr>
          <a:xfrm>
            <a:off x="4641562" y="2416932"/>
            <a:ext cx="3195052" cy="694055"/>
          </a:xfrm>
          <a:prstGeom prst="rect">
            <a:avLst/>
          </a:prstGeom>
        </p:spPr>
        <p:txBody>
          <a:bodyPr wrap="square">
            <a:spAutoFit/>
          </a:bodyPr>
          <a:lstStyle>
            <a:defPPr>
              <a:defRPr lang="zh-CN"/>
            </a:defPPr>
            <a:lvl1pPr defTabSz="457200">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marL="171450" indent="-171450">
              <a:lnSpc>
                <a:spcPct val="200000"/>
              </a:lnSpc>
              <a:buFont typeface="Wingdings" panose="05000000000000000000" charset="0"/>
              <a:buChar char="u"/>
            </a:pPr>
            <a:r>
              <a:rPr lang="en-US" altLang="zh-CN" sz="975" b="1" dirty="0">
                <a:solidFill>
                  <a:prstClr val="black"/>
                </a:solidFill>
                <a:latin typeface="微软雅黑" panose="020B0503020204020204" charset="-122"/>
                <a:ea typeface="微软雅黑" panose="020B0503020204020204" charset="-122"/>
                <a:sym typeface="+mn-ea"/>
              </a:rPr>
              <a:t>  </a:t>
            </a:r>
            <a:r>
              <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rPr>
              <a:t>承保流程及所需资料</a:t>
            </a:r>
            <a:endPar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endParaRPr>
          </a:p>
          <a:p>
            <a:pPr marL="171450" indent="-171450">
              <a:lnSpc>
                <a:spcPct val="200000"/>
              </a:lnSpc>
              <a:buFont typeface="Wingdings" panose="05000000000000000000" charset="0"/>
              <a:buChar char="u"/>
            </a:pPr>
            <a:r>
              <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 </a:t>
            </a:r>
            <a:r>
              <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rPr>
              <a:t>理赔流程及服务内容</a:t>
            </a:r>
            <a:endPar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endParaRPr>
          </a:p>
        </p:txBody>
      </p:sp>
    </p:spTree>
  </p:cSld>
  <p:clrMapOvr>
    <a:masterClrMapping/>
  </p:clrMapOvr>
  <p:timing>
    <p:tnLst>
      <p:par>
        <p:cTn id="1" dur="indefinite" restart="never" nodeType="tmRoot"/>
      </p:par>
    </p:tnLst>
    <p:bldLst>
      <p:bldP spid="1048781" grpId="0"/>
      <p:bldP spid="104862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Shape4"/>
          <p:cNvGrpSpPr/>
          <p:nvPr/>
        </p:nvGrpSpPr>
        <p:grpSpPr>
          <a:xfrm>
            <a:off x="299618" y="412859"/>
            <a:ext cx="824633" cy="144001"/>
            <a:chOff x="7922707" y="4563003"/>
            <a:chExt cx="824632" cy="144000"/>
          </a:xfrm>
        </p:grpSpPr>
        <p:sp>
          <p:nvSpPr>
            <p:cNvPr id="1048806"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07"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08"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49"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50"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819" name="Shape8"/>
          <p:cNvSpPr txBox="1"/>
          <p:nvPr>
            <p:custDataLst>
              <p:tags r:id="rId1"/>
            </p:custDataLst>
          </p:nvPr>
        </p:nvSpPr>
        <p:spPr>
          <a:xfrm>
            <a:off x="987743" y="3191351"/>
            <a:ext cx="7212330" cy="1753235"/>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marL="171450" indent="-171450" algn="just">
              <a:lnSpc>
                <a:spcPct val="150000"/>
              </a:lnSpc>
              <a:buFont typeface="Wingdings" panose="05000000000000000000" charset="0"/>
              <a:buChar char="Ø"/>
            </a:pPr>
            <a:r>
              <a:rPr lang="zh-CN" altLang="en-US"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前期线下出单，每家液化气储配站出具一张保单。保险期限3个月，保险费分3期支付。</a:t>
            </a:r>
            <a:endParaRPr lang="zh-CN" altLang="en-US"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a:p>
            <a:pPr marL="171450" indent="-171450" algn="just">
              <a:lnSpc>
                <a:spcPct val="150000"/>
              </a:lnSpc>
              <a:buFont typeface="Wingdings" panose="05000000000000000000" charset="0"/>
              <a:buChar char="Ø"/>
            </a:pPr>
            <a:r>
              <a:rPr lang="zh-CN" altLang="en-US"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按充装次数收取保费，出单时需提供气瓶清单，需包含气瓶所属储配站、气瓶条码、规格。按照每1气瓶1次充气量预估保费出具保单。次月初提供上月实充次数信息清单计算应缴保费，以后逐月类推。到最后一月，在保险到期前2日，提供当月已充次数信息清单。对于3次实充信息清单累计保费超出已出保单的部分，进行批增保处理。</a:t>
            </a:r>
            <a:endParaRPr lang="zh-CN" altLang="en-US"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a:p>
            <a:pPr marL="171450" indent="-171450" algn="just">
              <a:lnSpc>
                <a:spcPct val="150000"/>
              </a:lnSpc>
              <a:buFont typeface="Wingdings" panose="05000000000000000000" charset="0"/>
              <a:buChar char="Ø"/>
            </a:pPr>
            <a:r>
              <a:rPr lang="zh-CN" altLang="en-US"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三个月后转线上出单。</a:t>
            </a:r>
            <a:endParaRPr lang="zh-CN" altLang="en-US"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nvGrpSpPr>
          <p:cNvPr id="67" name="Shape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996315" y="1068705"/>
            <a:ext cx="7151846" cy="1990249"/>
            <a:chOff x="952844" y="1461493"/>
            <a:chExt cx="10280675" cy="2861311"/>
          </a:xfrm>
          <a:gradFill>
            <a:gsLst>
              <a:gs pos="0">
                <a:srgbClr val="4DB6FF"/>
              </a:gs>
              <a:gs pos="100000">
                <a:srgbClr val="3668F4"/>
              </a:gs>
            </a:gsLst>
            <a:lin ang="2700000" scaled="0"/>
          </a:gradFill>
        </p:grpSpPr>
        <p:cxnSp>
          <p:nvCxnSpPr>
            <p:cNvPr id="3145751" name="Shape6"/>
            <p:cNvCxnSpPr/>
            <p:nvPr/>
          </p:nvCxnSpPr>
          <p:spPr>
            <a:xfrm>
              <a:off x="11229285" y="3200515"/>
              <a:ext cx="0" cy="1046220"/>
            </a:xfrm>
            <a:prstGeom prst="line">
              <a:avLst/>
            </a:prstGeom>
            <a:grp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45752" name="Shape6"/>
            <p:cNvCxnSpPr/>
            <p:nvPr/>
          </p:nvCxnSpPr>
          <p:spPr>
            <a:xfrm>
              <a:off x="952844" y="1461493"/>
              <a:ext cx="3016" cy="2794493"/>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45753" name="Shape6"/>
            <p:cNvCxnSpPr/>
            <p:nvPr/>
          </p:nvCxnSpPr>
          <p:spPr>
            <a:xfrm flipH="1">
              <a:off x="2941679" y="1461493"/>
              <a:ext cx="12053" cy="2794493"/>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45754" name="Shape6"/>
            <p:cNvCxnSpPr/>
            <p:nvPr/>
          </p:nvCxnSpPr>
          <p:spPr>
            <a:xfrm flipH="1">
              <a:off x="5042810" y="2260111"/>
              <a:ext cx="9957" cy="1995876"/>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45755" name="Shape6"/>
            <p:cNvCxnSpPr/>
            <p:nvPr/>
          </p:nvCxnSpPr>
          <p:spPr>
            <a:xfrm>
              <a:off x="7144118" y="2662764"/>
              <a:ext cx="1" cy="1631271"/>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45756" name="Shape6"/>
            <p:cNvCxnSpPr/>
            <p:nvPr/>
          </p:nvCxnSpPr>
          <p:spPr>
            <a:xfrm>
              <a:off x="9239619" y="3143194"/>
              <a:ext cx="0" cy="1150841"/>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48810" name="Shape6"/>
            <p:cNvSpPr/>
            <p:nvPr/>
          </p:nvSpPr>
          <p:spPr>
            <a:xfrm>
              <a:off x="955582" y="3903775"/>
              <a:ext cx="3386728" cy="4190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chorCtr="0"/>
            <a:lstStyle/>
            <a:p>
              <a:pPr algn="ctr"/>
              <a:r>
                <a:rPr lang="zh-CN" altLang="en-US" sz="1200" b="1"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前三个月</a:t>
              </a:r>
              <a:endParaRPr lang="zh-CN" altLang="en-US" sz="1200" b="1"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11" name="Shape6"/>
            <p:cNvSpPr/>
            <p:nvPr/>
          </p:nvSpPr>
          <p:spPr>
            <a:xfrm>
              <a:off x="4401187" y="3903090"/>
              <a:ext cx="6832332" cy="419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r>
                <a:rPr lang="zh-CN" altLang="en-US" sz="1200" b="1"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三个月后</a:t>
              </a:r>
              <a:endParaRPr lang="zh-CN" altLang="en-US" sz="1200" b="1"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13" name="Shape6"/>
            <p:cNvSpPr/>
            <p:nvPr/>
          </p:nvSpPr>
          <p:spPr>
            <a:xfrm>
              <a:off x="952844" y="1461493"/>
              <a:ext cx="2493080" cy="30109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rPr>
                <a:t>线下出单</a:t>
              </a:r>
              <a:endPar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14" name="Shape6"/>
            <p:cNvSpPr/>
            <p:nvPr/>
          </p:nvSpPr>
          <p:spPr>
            <a:xfrm>
              <a:off x="955582" y="1844918"/>
              <a:ext cx="3515434" cy="3012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rPr>
                <a:t>同时启动系统对接</a:t>
              </a:r>
              <a:endPar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15" name="Shape6"/>
            <p:cNvSpPr/>
            <p:nvPr/>
          </p:nvSpPr>
          <p:spPr>
            <a:xfrm>
              <a:off x="2940930" y="2259839"/>
              <a:ext cx="4203459" cy="301263"/>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rPr>
                <a:t>测</a:t>
              </a:r>
              <a:r>
                <a:rPr lang="en-US" altLang="zh-CN"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rPr>
                <a:t> </a:t>
              </a:r>
              <a:r>
                <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rPr>
                <a:t>试</a:t>
              </a:r>
              <a:endPar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16" name="Shape6"/>
            <p:cNvSpPr/>
            <p:nvPr/>
          </p:nvSpPr>
          <p:spPr>
            <a:xfrm>
              <a:off x="4586346" y="2662764"/>
              <a:ext cx="3785495" cy="30109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rPr>
                <a:t>上</a:t>
              </a:r>
              <a:r>
                <a:rPr lang="en-US" altLang="zh-CN"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rPr>
                <a:t> </a:t>
              </a:r>
              <a:r>
                <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rPr>
                <a:t>线</a:t>
              </a:r>
              <a:endPar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17" name="Shape6"/>
            <p:cNvSpPr/>
            <p:nvPr/>
          </p:nvSpPr>
          <p:spPr>
            <a:xfrm>
              <a:off x="6908603" y="3049446"/>
              <a:ext cx="4324916" cy="30109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rPr>
                <a:t>线上出单</a:t>
              </a:r>
              <a:endParaRPr lang="zh-CN" altLang="en-US" sz="1200" b="1" dirty="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sp>
        <p:nvSpPr>
          <p:cNvPr id="3" name="Shape5"/>
          <p:cNvSpPr txBox="1"/>
          <p:nvPr>
            <p:custDataLst>
              <p:tags r:id="rId3"/>
            </p:custDataLst>
          </p:nvPr>
        </p:nvSpPr>
        <p:spPr>
          <a:xfrm>
            <a:off x="1239238" y="296713"/>
            <a:ext cx="2203939" cy="368300"/>
          </a:xfrm>
          <a:prstGeom prst="rect">
            <a:avLst/>
          </a:prstGeom>
          <a:noFill/>
        </p:spPr>
        <p:txBody>
          <a:bodyPr wrap="square" rtlCol="0">
            <a:spAutoFit/>
          </a:bodyPr>
          <a:p>
            <a:r>
              <a:rPr lang="zh-CN" altLang="en-US" dirty="0">
                <a:latin typeface="汉仪旗黑X1-55W" panose="00020600040101010101" pitchFamily="18" charset="-122"/>
                <a:ea typeface="汉仪旗黑X1-55W" panose="00020600040101010101" pitchFamily="18" charset="-122"/>
                <a:sym typeface="汉仪旗黑X1-55W" panose="00020600040101010101" pitchFamily="18" charset="-122"/>
              </a:rPr>
              <a:t>一站式服务流程</a:t>
            </a:r>
            <a:endParaRPr lang="zh-CN" altLang="en-US" dirty="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Shape4"/>
          <p:cNvGrpSpPr/>
          <p:nvPr/>
        </p:nvGrpSpPr>
        <p:grpSpPr>
          <a:xfrm>
            <a:off x="299618" y="412859"/>
            <a:ext cx="824633" cy="144001"/>
            <a:chOff x="7922707" y="4563003"/>
            <a:chExt cx="824632" cy="144000"/>
          </a:xfrm>
        </p:grpSpPr>
        <p:sp>
          <p:nvSpPr>
            <p:cNvPr id="1048727"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28"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29"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37"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38"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730" name="Shape5"/>
          <p:cNvSpPr txBox="1"/>
          <p:nvPr/>
        </p:nvSpPr>
        <p:spPr>
          <a:xfrm>
            <a:off x="1150409" y="346360"/>
            <a:ext cx="1652954"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责任免除</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grpSp>
        <p:nvGrpSpPr>
          <p:cNvPr id="56" name="Shape6"/>
          <p:cNvGrpSpPr/>
          <p:nvPr>
            <p:custDataLst>
              <p:tags r:id="rId1"/>
            </p:custDataLst>
          </p:nvPr>
        </p:nvGrpSpPr>
        <p:grpSpPr>
          <a:xfrm>
            <a:off x="877475" y="1370574"/>
            <a:ext cx="2900738" cy="2752589"/>
            <a:chOff x="6894249" y="1976020"/>
            <a:chExt cx="3867650" cy="3670119"/>
          </a:xfrm>
          <a:effectLst/>
        </p:grpSpPr>
        <p:sp>
          <p:nvSpPr>
            <p:cNvPr id="1048731" name="Shape6"/>
            <p:cNvSpPr/>
            <p:nvPr>
              <p:custDataLst>
                <p:tags r:id="rId2"/>
              </p:custDataLst>
            </p:nvPr>
          </p:nvSpPr>
          <p:spPr>
            <a:xfrm>
              <a:off x="8176122" y="2182956"/>
              <a:ext cx="2585777" cy="2585777"/>
            </a:xfrm>
            <a:prstGeom prst="ellipse">
              <a:avLst/>
            </a:prstGeom>
            <a:solidFill>
              <a:schemeClr val="accent1">
                <a:lumMod val="60000"/>
                <a:lumOff val="40000"/>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32" name="Shape6"/>
            <p:cNvSpPr/>
            <p:nvPr>
              <p:custDataLst>
                <p:tags r:id="rId3"/>
              </p:custDataLst>
            </p:nvPr>
          </p:nvSpPr>
          <p:spPr>
            <a:xfrm>
              <a:off x="7853939" y="3655060"/>
              <a:ext cx="1568295" cy="156829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33" name="Shape6"/>
            <p:cNvSpPr/>
            <p:nvPr>
              <p:custDataLst>
                <p:tags r:id="rId4"/>
              </p:custDataLst>
            </p:nvPr>
          </p:nvSpPr>
          <p:spPr>
            <a:xfrm>
              <a:off x="6894249" y="2574167"/>
              <a:ext cx="2174622" cy="2174622"/>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34" name="Shape6"/>
            <p:cNvSpPr/>
            <p:nvPr>
              <p:custDataLst>
                <p:tags r:id="rId5"/>
              </p:custDataLst>
            </p:nvPr>
          </p:nvSpPr>
          <p:spPr>
            <a:xfrm>
              <a:off x="9265446" y="3193419"/>
              <a:ext cx="470389" cy="4703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de-DE" sz="79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2</a:t>
              </a:r>
              <a:endParaRPr lang="en-US" altLang="de-DE" sz="79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35" name="Shape6"/>
            <p:cNvSpPr/>
            <p:nvPr>
              <p:custDataLst>
                <p:tags r:id="rId6"/>
              </p:custDataLst>
            </p:nvPr>
          </p:nvSpPr>
          <p:spPr>
            <a:xfrm>
              <a:off x="7748617" y="3380485"/>
              <a:ext cx="470389" cy="4703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de-DE" sz="79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1</a:t>
              </a:r>
              <a:endParaRPr lang="en-US" altLang="de-DE" sz="79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36" name="Shape6"/>
            <p:cNvSpPr/>
            <p:nvPr>
              <p:custDataLst>
                <p:tags r:id="rId7"/>
              </p:custDataLst>
            </p:nvPr>
          </p:nvSpPr>
          <p:spPr>
            <a:xfrm>
              <a:off x="8422779" y="4215837"/>
              <a:ext cx="470389" cy="470389"/>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de-DE" sz="79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3</a:t>
              </a:r>
              <a:endParaRPr lang="en-US" altLang="de-DE" sz="79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cxnSp>
          <p:nvCxnSpPr>
            <p:cNvPr id="3145739" name="Shape6"/>
            <p:cNvCxnSpPr/>
            <p:nvPr>
              <p:custDataLst>
                <p:tags r:id="rId8"/>
              </p:custDataLst>
            </p:nvPr>
          </p:nvCxnSpPr>
          <p:spPr>
            <a:xfrm flipH="1">
              <a:off x="9572869" y="2000822"/>
              <a:ext cx="620409" cy="1245803"/>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48737" name="Shape6"/>
            <p:cNvSpPr/>
            <p:nvPr>
              <p:custDataLst>
                <p:tags r:id="rId9"/>
              </p:custDataLst>
            </p:nvPr>
          </p:nvSpPr>
          <p:spPr>
            <a:xfrm>
              <a:off x="10142283" y="1976020"/>
              <a:ext cx="101992" cy="10199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25">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cxnSp>
          <p:nvCxnSpPr>
            <p:cNvPr id="3145740" name="Shape6"/>
            <p:cNvCxnSpPr/>
            <p:nvPr>
              <p:custDataLst>
                <p:tags r:id="rId10"/>
              </p:custDataLst>
            </p:nvPr>
          </p:nvCxnSpPr>
          <p:spPr>
            <a:xfrm>
              <a:off x="7097787" y="2434052"/>
              <a:ext cx="784824" cy="1025171"/>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48738" name="Shape6"/>
            <p:cNvSpPr/>
            <p:nvPr>
              <p:custDataLst>
                <p:tags r:id="rId11"/>
              </p:custDataLst>
            </p:nvPr>
          </p:nvSpPr>
          <p:spPr>
            <a:xfrm>
              <a:off x="7038326" y="2360572"/>
              <a:ext cx="101992" cy="10199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25">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cxnSp>
          <p:nvCxnSpPr>
            <p:cNvPr id="3145741" name="Shape6"/>
            <p:cNvCxnSpPr/>
            <p:nvPr>
              <p:custDataLst>
                <p:tags r:id="rId12"/>
              </p:custDataLst>
            </p:nvPr>
          </p:nvCxnSpPr>
          <p:spPr>
            <a:xfrm>
              <a:off x="8730963" y="4569969"/>
              <a:ext cx="784824" cy="1025171"/>
            </a:xfrm>
            <a:prstGeom prst="line">
              <a:avLst/>
            </a:prstGeom>
            <a:solidFill>
              <a:schemeClr val="bg1">
                <a:lumMod val="85000"/>
              </a:schemeClr>
            </a:solidFill>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48739" name="Shape6"/>
            <p:cNvSpPr/>
            <p:nvPr>
              <p:custDataLst>
                <p:tags r:id="rId13"/>
              </p:custDataLst>
            </p:nvPr>
          </p:nvSpPr>
          <p:spPr>
            <a:xfrm>
              <a:off x="9470737" y="5544147"/>
              <a:ext cx="101992" cy="10199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25">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sp>
        <p:nvSpPr>
          <p:cNvPr id="1048743" name="Shape7"/>
          <p:cNvSpPr>
            <a:spLocks noChangeAspect="1"/>
          </p:cNvSpPr>
          <p:nvPr/>
        </p:nvSpPr>
        <p:spPr>
          <a:xfrm>
            <a:off x="4025776" y="2955102"/>
            <a:ext cx="399923" cy="399923"/>
          </a:xfrm>
          <a:prstGeom prst="roundRect">
            <a:avLst/>
          </a:prstGeom>
          <a:solidFill>
            <a:schemeClr val="accent2"/>
          </a:solidFill>
          <a:ln w="508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120000"/>
              </a:lnSpc>
            </a:pPr>
            <a:r>
              <a:rPr lang="en-US" altLang="zh-CN"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03</a:t>
            </a:r>
            <a:endParaRPr lang="en-US" altLang="zh-CN"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44" name="Shape8"/>
          <p:cNvSpPr>
            <a:spLocks noChangeAspect="1"/>
          </p:cNvSpPr>
          <p:nvPr/>
        </p:nvSpPr>
        <p:spPr>
          <a:xfrm>
            <a:off x="4031905" y="1680281"/>
            <a:ext cx="401055" cy="401055"/>
          </a:xfrm>
          <a:prstGeom prst="roundRect">
            <a:avLst/>
          </a:prstGeom>
          <a:solidFill>
            <a:schemeClr val="accent1"/>
          </a:solidFill>
          <a:ln w="508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120000"/>
              </a:lnSpc>
            </a:pPr>
            <a:r>
              <a:rPr lang="en-US" altLang="zh-CN"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01</a:t>
            </a:r>
            <a:endParaRPr lang="en-US" altLang="zh-CN"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45" name="Shape9"/>
          <p:cNvSpPr>
            <a:spLocks noChangeAspect="1"/>
          </p:cNvSpPr>
          <p:nvPr/>
        </p:nvSpPr>
        <p:spPr>
          <a:xfrm>
            <a:off x="6494345" y="2956888"/>
            <a:ext cx="401055" cy="399923"/>
          </a:xfrm>
          <a:prstGeom prst="roundRect">
            <a:avLst/>
          </a:prstGeom>
          <a:solidFill>
            <a:schemeClr val="accent1"/>
          </a:solidFill>
          <a:ln w="508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120000"/>
              </a:lnSpc>
            </a:pPr>
            <a:r>
              <a:rPr lang="en-US" altLang="zh-CN"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04</a:t>
            </a:r>
            <a:endParaRPr lang="en-US" altLang="zh-CN"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46" name="Shape10"/>
          <p:cNvSpPr>
            <a:spLocks noChangeAspect="1"/>
          </p:cNvSpPr>
          <p:nvPr/>
        </p:nvSpPr>
        <p:spPr>
          <a:xfrm>
            <a:off x="6500596" y="1682066"/>
            <a:ext cx="401055" cy="401055"/>
          </a:xfrm>
          <a:prstGeom prst="roundRect">
            <a:avLst/>
          </a:prstGeom>
          <a:solidFill>
            <a:schemeClr val="accent2"/>
          </a:solidFill>
          <a:ln w="508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120000"/>
              </a:lnSpc>
            </a:pPr>
            <a:r>
              <a:rPr lang="en-US" altLang="zh-CN"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02</a:t>
            </a:r>
            <a:endParaRPr lang="en-US" altLang="zh-CN" sz="12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47" name="Shape11"/>
          <p:cNvSpPr txBox="1"/>
          <p:nvPr/>
        </p:nvSpPr>
        <p:spPr>
          <a:xfrm>
            <a:off x="4631069" y="1680281"/>
            <a:ext cx="1556741" cy="252730"/>
          </a:xfrm>
          <a:prstGeom prst="rect">
            <a:avLst/>
          </a:prstGeom>
          <a:noFill/>
        </p:spPr>
        <p:txBody>
          <a:bodyPr wrap="square" rtlCol="0">
            <a:spAutoFit/>
          </a:bodyPr>
          <a:lstStyle/>
          <a:p>
            <a:r>
              <a:rPr lang="zh-CN" altLang="en-US" sz="1050"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投保单</a:t>
            </a:r>
            <a:endParaRPr lang="zh-CN" altLang="en-US" sz="1050"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48" name="Shape12"/>
          <p:cNvSpPr txBox="1"/>
          <p:nvPr/>
        </p:nvSpPr>
        <p:spPr>
          <a:xfrm>
            <a:off x="4631069" y="1934197"/>
            <a:ext cx="1556741" cy="922020"/>
          </a:xfrm>
          <a:prstGeom prst="rect">
            <a:avLst/>
          </a:prstGeom>
        </p:spPr>
        <p:txBody>
          <a:bodyPr wrap="square">
            <a:spAutoFit/>
          </a:bodyPr>
          <a:lstStyle>
            <a:defPPr>
              <a:defRPr lang="zh-CN"/>
            </a:defPPr>
            <a:lvl1pPr defTabSz="457200">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 </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鼎和保险将与投保人确认方案进行投保单制作。</a:t>
            </a:r>
            <a:endParaRPr lang="zh-CN" altLang="en-US" sz="9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a:p>
            <a:pP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 </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投保人对投保单进行核对盖公章。</a:t>
            </a:r>
            <a:endParaRPr lang="zh-CN" altLang="en-US" sz="9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49" name="Shape13"/>
          <p:cNvSpPr txBox="1"/>
          <p:nvPr/>
        </p:nvSpPr>
        <p:spPr>
          <a:xfrm>
            <a:off x="7085511" y="1680281"/>
            <a:ext cx="1556741" cy="252730"/>
          </a:xfrm>
          <a:prstGeom prst="rect">
            <a:avLst/>
          </a:prstGeom>
          <a:noFill/>
        </p:spPr>
        <p:txBody>
          <a:bodyPr wrap="square" rtlCol="0">
            <a:spAutoFit/>
          </a:bodyPr>
          <a:lstStyle/>
          <a:p>
            <a:r>
              <a:rPr lang="zh-CN" altLang="en-US" sz="1050"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气罐清单</a:t>
            </a:r>
            <a:endParaRPr lang="zh-CN" altLang="en-US" sz="1050"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50" name="Shape14"/>
          <p:cNvSpPr txBox="1"/>
          <p:nvPr/>
        </p:nvSpPr>
        <p:spPr>
          <a:xfrm>
            <a:off x="7085511" y="1934197"/>
            <a:ext cx="1556741" cy="922020"/>
          </a:xfrm>
          <a:prstGeom prst="rect">
            <a:avLst/>
          </a:prstGeom>
        </p:spPr>
        <p:txBody>
          <a:bodyPr wrap="square">
            <a:spAutoFit/>
          </a:bodyPr>
          <a:lstStyle>
            <a:defPPr>
              <a:defRPr lang="zh-CN"/>
            </a:defPPr>
            <a:lvl1pPr defTabSz="457200">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 </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首次投保由燃管办提供系统内所有气罐清单。</a:t>
            </a:r>
            <a:endPar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endParaRPr>
          </a:p>
          <a:p>
            <a:pP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 </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投保人对清单进行核对盖公章。</a:t>
            </a:r>
            <a:endPar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endParaRPr>
          </a:p>
        </p:txBody>
      </p:sp>
      <p:sp>
        <p:nvSpPr>
          <p:cNvPr id="1048751" name="Shape15"/>
          <p:cNvSpPr txBox="1"/>
          <p:nvPr/>
        </p:nvSpPr>
        <p:spPr>
          <a:xfrm>
            <a:off x="4631069" y="2930248"/>
            <a:ext cx="1556741" cy="252730"/>
          </a:xfrm>
          <a:prstGeom prst="rect">
            <a:avLst/>
          </a:prstGeom>
          <a:noFill/>
        </p:spPr>
        <p:txBody>
          <a:bodyPr wrap="square" rtlCol="0">
            <a:spAutoFit/>
          </a:bodyPr>
          <a:lstStyle/>
          <a:p>
            <a:r>
              <a:rPr lang="zh-CN" altLang="en-US" sz="1050"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营业执照</a:t>
            </a:r>
            <a:endParaRPr lang="zh-CN" altLang="en-US" sz="1050"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52" name="Shape16"/>
          <p:cNvSpPr txBox="1"/>
          <p:nvPr/>
        </p:nvSpPr>
        <p:spPr>
          <a:xfrm>
            <a:off x="4631069" y="3184163"/>
            <a:ext cx="1556741" cy="506730"/>
          </a:xfrm>
          <a:prstGeom prst="rect">
            <a:avLst/>
          </a:prstGeom>
        </p:spPr>
        <p:txBody>
          <a:bodyPr wrap="square">
            <a:spAutoFit/>
          </a:bodyPr>
          <a:lstStyle>
            <a:defPPr>
              <a:defRPr lang="zh-CN"/>
            </a:defPPr>
            <a:lvl1pPr defTabSz="457200">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 </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投保人提供有效期内的营业执照影像或复印件</a:t>
            </a:r>
            <a:endPar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endParaRPr>
          </a:p>
        </p:txBody>
      </p:sp>
      <p:sp>
        <p:nvSpPr>
          <p:cNvPr id="1048753" name="Shape17"/>
          <p:cNvSpPr txBox="1"/>
          <p:nvPr/>
        </p:nvSpPr>
        <p:spPr>
          <a:xfrm>
            <a:off x="7085511" y="2930248"/>
            <a:ext cx="1556741" cy="252730"/>
          </a:xfrm>
          <a:prstGeom prst="rect">
            <a:avLst/>
          </a:prstGeom>
          <a:noFill/>
        </p:spPr>
        <p:txBody>
          <a:bodyPr wrap="square" rtlCol="0">
            <a:spAutoFit/>
          </a:bodyPr>
          <a:lstStyle/>
          <a:p>
            <a:r>
              <a:rPr lang="zh-CN" altLang="en-US" sz="1050"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法人身份证</a:t>
            </a:r>
            <a:endParaRPr lang="zh-CN" altLang="en-US" sz="1050"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54" name="Shape18"/>
          <p:cNvSpPr txBox="1"/>
          <p:nvPr/>
        </p:nvSpPr>
        <p:spPr>
          <a:xfrm>
            <a:off x="7085511" y="3184163"/>
            <a:ext cx="1556741" cy="714375"/>
          </a:xfrm>
          <a:prstGeom prst="rect">
            <a:avLst/>
          </a:prstGeom>
        </p:spPr>
        <p:txBody>
          <a:bodyPr wrap="square">
            <a:spAutoFit/>
          </a:bodyPr>
          <a:lstStyle>
            <a:defPPr>
              <a:defRPr lang="zh-CN"/>
            </a:defPPr>
            <a:lvl1pPr defTabSz="457200">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 </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根据反洗钱管理要求，保费规模达</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20</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万元及以上的需提供。</a:t>
            </a:r>
            <a:endPar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endParaRPr>
          </a:p>
        </p:txBody>
      </p:sp>
      <p:sp>
        <p:nvSpPr>
          <p:cNvPr id="3" name="Shape6"/>
          <p:cNvSpPr txBox="1"/>
          <p:nvPr>
            <p:custDataLst>
              <p:tags r:id="rId14"/>
            </p:custDataLst>
          </p:nvPr>
        </p:nvSpPr>
        <p:spPr>
          <a:xfrm>
            <a:off x="169437" y="1270012"/>
            <a:ext cx="1457627" cy="368300"/>
          </a:xfrm>
          <a:prstGeom prst="rect">
            <a:avLst/>
          </a:prstGeom>
          <a:noFill/>
        </p:spPr>
        <p:txBody>
          <a:bodyPr wrap="square" rtlCol="0">
            <a:spAutoFit/>
          </a:bodyPr>
          <a:p>
            <a:pPr algn="ctr"/>
            <a:r>
              <a:rPr lang="zh-CN" altLang="en-US"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投保单</a:t>
            </a:r>
            <a:endParaRPr lang="zh-CN" altLang="en-US"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4" name="Shape6"/>
          <p:cNvSpPr txBox="1"/>
          <p:nvPr>
            <p:custDataLst>
              <p:tags r:id="rId15"/>
            </p:custDataLst>
          </p:nvPr>
        </p:nvSpPr>
        <p:spPr>
          <a:xfrm>
            <a:off x="2773600" y="896488"/>
            <a:ext cx="1457627" cy="368300"/>
          </a:xfrm>
          <a:prstGeom prst="rect">
            <a:avLst/>
          </a:prstGeom>
          <a:noFill/>
        </p:spPr>
        <p:txBody>
          <a:bodyPr wrap="square" rtlCol="0">
            <a:spAutoFit/>
          </a:bodyPr>
          <a:p>
            <a:pPr algn="ctr"/>
            <a:r>
              <a:rPr lang="zh-CN" altLang="en-US"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气罐清单</a:t>
            </a:r>
            <a:endParaRPr lang="zh-CN" altLang="en-US"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5" name="Shape6"/>
          <p:cNvSpPr txBox="1"/>
          <p:nvPr>
            <p:custDataLst>
              <p:tags r:id="rId16"/>
            </p:custDataLst>
          </p:nvPr>
        </p:nvSpPr>
        <p:spPr>
          <a:xfrm>
            <a:off x="1838852" y="4228968"/>
            <a:ext cx="2550160" cy="368300"/>
          </a:xfrm>
          <a:prstGeom prst="rect">
            <a:avLst/>
          </a:prstGeom>
          <a:noFill/>
        </p:spPr>
        <p:txBody>
          <a:bodyPr wrap="square" rtlCol="0">
            <a:spAutoFit/>
          </a:bodyPr>
          <a:p>
            <a:pPr algn="ctr"/>
            <a:r>
              <a:rPr lang="zh-CN" altLang="en-US"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营业执照、法人身份证</a:t>
            </a:r>
            <a:endParaRPr lang="zh-CN" altLang="en-US"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Tree>
  </p:cSld>
  <p:clrMapOvr>
    <a:masterClrMapping/>
  </p:clrMapOvr>
  <p:timing>
    <p:tnLst>
      <p:par>
        <p:cTn id="1" dur="indefinite" restart="never" nodeType="tmRoot"/>
      </p:par>
    </p:tnLst>
    <p:bldLst>
      <p:bldP spid="1048743" grpId="0" bldLvl="0" animBg="1"/>
      <p:bldP spid="1048744" grpId="0" bldLvl="0" animBg="1"/>
      <p:bldP spid="1048745" grpId="0" bldLvl="0" animBg="1"/>
      <p:bldP spid="1048746" grpId="0" bldLvl="0" animBg="1"/>
      <p:bldP spid="1048747" grpId="0"/>
      <p:bldP spid="1048748" grpId="0"/>
      <p:bldP spid="1048749" grpId="0"/>
      <p:bldP spid="1048750" grpId="0"/>
      <p:bldP spid="1048751" grpId="0"/>
      <p:bldP spid="1048752" grpId="0"/>
      <p:bldP spid="1048753" grpId="0"/>
      <p:bldP spid="104875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Shape4"/>
          <p:cNvGrpSpPr/>
          <p:nvPr/>
        </p:nvGrpSpPr>
        <p:grpSpPr>
          <a:xfrm>
            <a:off x="299618" y="412859"/>
            <a:ext cx="824633" cy="144001"/>
            <a:chOff x="7922707" y="4563003"/>
            <a:chExt cx="824632" cy="144000"/>
          </a:xfrm>
        </p:grpSpPr>
        <p:sp>
          <p:nvSpPr>
            <p:cNvPr id="1048895"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96"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97"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61"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62"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898" name="Shape5"/>
          <p:cNvSpPr txBox="1"/>
          <p:nvPr/>
        </p:nvSpPr>
        <p:spPr>
          <a:xfrm>
            <a:off x="1150620" y="354330"/>
            <a:ext cx="2035493"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理赔流程及服务内容</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sp>
        <p:nvSpPr>
          <p:cNvPr id="1048899" name="Shape6"/>
          <p:cNvSpPr/>
          <p:nvPr/>
        </p:nvSpPr>
        <p:spPr>
          <a:xfrm>
            <a:off x="679820" y="1380985"/>
            <a:ext cx="723797" cy="703075"/>
          </a:xfrm>
          <a:prstGeom prst="flowChartOffpage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00" name="Shape7"/>
          <p:cNvSpPr/>
          <p:nvPr/>
        </p:nvSpPr>
        <p:spPr>
          <a:xfrm>
            <a:off x="679820" y="2387672"/>
            <a:ext cx="723797" cy="703077"/>
          </a:xfrm>
          <a:prstGeom prst="flowChartOffpage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01" name="Shape8"/>
          <p:cNvSpPr/>
          <p:nvPr/>
        </p:nvSpPr>
        <p:spPr>
          <a:xfrm>
            <a:off x="679820" y="3395795"/>
            <a:ext cx="723797" cy="703077"/>
          </a:xfrm>
          <a:prstGeom prst="flowChartOffpage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02" name="Shape9"/>
          <p:cNvSpPr/>
          <p:nvPr/>
        </p:nvSpPr>
        <p:spPr>
          <a:xfrm>
            <a:off x="7740388" y="1379549"/>
            <a:ext cx="723797" cy="703077"/>
          </a:xfrm>
          <a:prstGeom prst="flowChartOffpage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03" name="Shape10"/>
          <p:cNvSpPr/>
          <p:nvPr/>
        </p:nvSpPr>
        <p:spPr>
          <a:xfrm>
            <a:off x="7740388" y="2387675"/>
            <a:ext cx="723797" cy="703077"/>
          </a:xfrm>
          <a:prstGeom prst="flowChartOffpage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04" name="Shape11"/>
          <p:cNvSpPr/>
          <p:nvPr/>
        </p:nvSpPr>
        <p:spPr>
          <a:xfrm>
            <a:off x="7740388" y="3395793"/>
            <a:ext cx="723797" cy="703078"/>
          </a:xfrm>
          <a:prstGeom prst="flowChartOffpage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cxnSp>
        <p:nvCxnSpPr>
          <p:cNvPr id="3145763" name="Shape12"/>
          <p:cNvCxnSpPr/>
          <p:nvPr/>
        </p:nvCxnSpPr>
        <p:spPr>
          <a:xfrm flipV="1">
            <a:off x="4572000" y="1330754"/>
            <a:ext cx="0" cy="2746157"/>
          </a:xfrm>
          <a:prstGeom prst="line">
            <a:avLst/>
          </a:prstGeom>
          <a:ln w="19050">
            <a:solidFill>
              <a:schemeClr val="bg1">
                <a:lumMod val="75000"/>
              </a:schemeClr>
            </a:solidFill>
            <a:prstDash val="sysDot"/>
            <a:headEnd type="diamond"/>
            <a:tailEnd type="diamond"/>
          </a:ln>
        </p:spPr>
        <p:style>
          <a:lnRef idx="1">
            <a:schemeClr val="accent1"/>
          </a:lnRef>
          <a:fillRef idx="0">
            <a:schemeClr val="accent1"/>
          </a:fillRef>
          <a:effectRef idx="0">
            <a:schemeClr val="accent1"/>
          </a:effectRef>
          <a:fontRef idx="minor">
            <a:schemeClr val="tx1"/>
          </a:fontRef>
        </p:style>
      </p:cxnSp>
      <p:sp>
        <p:nvSpPr>
          <p:cNvPr id="1048905" name="Shape13"/>
          <p:cNvSpPr/>
          <p:nvPr/>
        </p:nvSpPr>
        <p:spPr bwMode="auto">
          <a:xfrm>
            <a:off x="7929462" y="2566389"/>
            <a:ext cx="345642" cy="345642"/>
          </a:xfrm>
          <a:custGeom>
            <a:avLst/>
            <a:gdLst/>
            <a:ahLst/>
            <a:cxnLst>
              <a:cxn ang="0">
                <a:pos x="64" y="42"/>
              </a:cxn>
              <a:cxn ang="0">
                <a:pos x="63" y="44"/>
              </a:cxn>
              <a:cxn ang="0">
                <a:pos x="33" y="64"/>
              </a:cxn>
              <a:cxn ang="0">
                <a:pos x="32" y="64"/>
              </a:cxn>
              <a:cxn ang="0">
                <a:pos x="30" y="64"/>
              </a:cxn>
              <a:cxn ang="0">
                <a:pos x="1" y="44"/>
              </a:cxn>
              <a:cxn ang="0">
                <a:pos x="0" y="42"/>
              </a:cxn>
              <a:cxn ang="0">
                <a:pos x="0" y="23"/>
              </a:cxn>
              <a:cxn ang="0">
                <a:pos x="1" y="20"/>
              </a:cxn>
              <a:cxn ang="0">
                <a:pos x="30" y="1"/>
              </a:cxn>
              <a:cxn ang="0">
                <a:pos x="32" y="0"/>
              </a:cxn>
              <a:cxn ang="0">
                <a:pos x="33" y="1"/>
              </a:cxn>
              <a:cxn ang="0">
                <a:pos x="63" y="20"/>
              </a:cxn>
              <a:cxn ang="0">
                <a:pos x="64" y="23"/>
              </a:cxn>
              <a:cxn ang="0">
                <a:pos x="64" y="42"/>
              </a:cxn>
              <a:cxn ang="0">
                <a:pos x="12" y="32"/>
              </a:cxn>
              <a:cxn ang="0">
                <a:pos x="5" y="28"/>
              </a:cxn>
              <a:cxn ang="0">
                <a:pos x="5" y="37"/>
              </a:cxn>
              <a:cxn ang="0">
                <a:pos x="12" y="32"/>
              </a:cxn>
              <a:cxn ang="0">
                <a:pos x="29" y="21"/>
              </a:cxn>
              <a:cxn ang="0">
                <a:pos x="29" y="8"/>
              </a:cxn>
              <a:cxn ang="0">
                <a:pos x="7" y="23"/>
              </a:cxn>
              <a:cxn ang="0">
                <a:pos x="17" y="29"/>
              </a:cxn>
              <a:cxn ang="0">
                <a:pos x="29" y="21"/>
              </a:cxn>
              <a:cxn ang="0">
                <a:pos x="29" y="56"/>
              </a:cxn>
              <a:cxn ang="0">
                <a:pos x="29" y="44"/>
              </a:cxn>
              <a:cxn ang="0">
                <a:pos x="17" y="36"/>
              </a:cxn>
              <a:cxn ang="0">
                <a:pos x="7" y="42"/>
              </a:cxn>
              <a:cxn ang="0">
                <a:pos x="29" y="56"/>
              </a:cxn>
              <a:cxn ang="0">
                <a:pos x="41" y="32"/>
              </a:cxn>
              <a:cxn ang="0">
                <a:pos x="32" y="26"/>
              </a:cxn>
              <a:cxn ang="0">
                <a:pos x="22" y="32"/>
              </a:cxn>
              <a:cxn ang="0">
                <a:pos x="32" y="39"/>
              </a:cxn>
              <a:cxn ang="0">
                <a:pos x="41" y="32"/>
              </a:cxn>
              <a:cxn ang="0">
                <a:pos x="56" y="23"/>
              </a:cxn>
              <a:cxn ang="0">
                <a:pos x="35" y="8"/>
              </a:cxn>
              <a:cxn ang="0">
                <a:pos x="35" y="21"/>
              </a:cxn>
              <a:cxn ang="0">
                <a:pos x="46" y="29"/>
              </a:cxn>
              <a:cxn ang="0">
                <a:pos x="56" y="23"/>
              </a:cxn>
              <a:cxn ang="0">
                <a:pos x="56" y="42"/>
              </a:cxn>
              <a:cxn ang="0">
                <a:pos x="46" y="36"/>
              </a:cxn>
              <a:cxn ang="0">
                <a:pos x="35" y="44"/>
              </a:cxn>
              <a:cxn ang="0">
                <a:pos x="35" y="56"/>
              </a:cxn>
              <a:cxn ang="0">
                <a:pos x="56" y="42"/>
              </a:cxn>
              <a:cxn ang="0">
                <a:pos x="58" y="37"/>
              </a:cxn>
              <a:cxn ang="0">
                <a:pos x="58" y="28"/>
              </a:cxn>
              <a:cxn ang="0">
                <a:pos x="51" y="32"/>
              </a:cxn>
              <a:cxn ang="0">
                <a:pos x="58" y="37"/>
              </a:cxn>
            </a:cxnLst>
            <a:rect l="0" t="0" r="r" b="b"/>
            <a:pathLst>
              <a:path w="64" h="64">
                <a:moveTo>
                  <a:pt x="64" y="42"/>
                </a:moveTo>
                <a:cubicBezTo>
                  <a:pt x="64" y="43"/>
                  <a:pt x="63" y="44"/>
                  <a:pt x="63" y="44"/>
                </a:cubicBezTo>
                <a:cubicBezTo>
                  <a:pt x="33" y="64"/>
                  <a:pt x="33" y="64"/>
                  <a:pt x="33" y="64"/>
                </a:cubicBezTo>
                <a:cubicBezTo>
                  <a:pt x="33" y="64"/>
                  <a:pt x="32" y="64"/>
                  <a:pt x="32" y="64"/>
                </a:cubicBezTo>
                <a:cubicBezTo>
                  <a:pt x="31" y="64"/>
                  <a:pt x="31" y="64"/>
                  <a:pt x="30" y="64"/>
                </a:cubicBezTo>
                <a:cubicBezTo>
                  <a:pt x="1" y="44"/>
                  <a:pt x="1" y="44"/>
                  <a:pt x="1" y="44"/>
                </a:cubicBezTo>
                <a:cubicBezTo>
                  <a:pt x="0" y="44"/>
                  <a:pt x="0" y="43"/>
                  <a:pt x="0" y="42"/>
                </a:cubicBezTo>
                <a:cubicBezTo>
                  <a:pt x="0" y="23"/>
                  <a:pt x="0" y="23"/>
                  <a:pt x="0" y="23"/>
                </a:cubicBezTo>
                <a:cubicBezTo>
                  <a:pt x="0" y="22"/>
                  <a:pt x="0" y="21"/>
                  <a:pt x="1" y="20"/>
                </a:cubicBezTo>
                <a:cubicBezTo>
                  <a:pt x="30" y="1"/>
                  <a:pt x="30" y="1"/>
                  <a:pt x="30" y="1"/>
                </a:cubicBezTo>
                <a:cubicBezTo>
                  <a:pt x="31" y="1"/>
                  <a:pt x="31" y="0"/>
                  <a:pt x="32" y="0"/>
                </a:cubicBezTo>
                <a:cubicBezTo>
                  <a:pt x="32" y="0"/>
                  <a:pt x="33" y="1"/>
                  <a:pt x="33" y="1"/>
                </a:cubicBezTo>
                <a:cubicBezTo>
                  <a:pt x="63" y="20"/>
                  <a:pt x="63" y="20"/>
                  <a:pt x="63" y="20"/>
                </a:cubicBezTo>
                <a:cubicBezTo>
                  <a:pt x="63" y="21"/>
                  <a:pt x="64" y="22"/>
                  <a:pt x="64" y="23"/>
                </a:cubicBezTo>
                <a:lnTo>
                  <a:pt x="64" y="42"/>
                </a:lnTo>
                <a:close/>
                <a:moveTo>
                  <a:pt x="12" y="32"/>
                </a:moveTo>
                <a:cubicBezTo>
                  <a:pt x="5" y="28"/>
                  <a:pt x="5" y="28"/>
                  <a:pt x="5" y="28"/>
                </a:cubicBezTo>
                <a:cubicBezTo>
                  <a:pt x="5" y="37"/>
                  <a:pt x="5" y="37"/>
                  <a:pt x="5" y="37"/>
                </a:cubicBezTo>
                <a:lnTo>
                  <a:pt x="12" y="32"/>
                </a:lnTo>
                <a:close/>
                <a:moveTo>
                  <a:pt x="29" y="21"/>
                </a:moveTo>
                <a:cubicBezTo>
                  <a:pt x="29" y="8"/>
                  <a:pt x="29" y="8"/>
                  <a:pt x="29" y="8"/>
                </a:cubicBezTo>
                <a:cubicBezTo>
                  <a:pt x="7" y="23"/>
                  <a:pt x="7" y="23"/>
                  <a:pt x="7" y="23"/>
                </a:cubicBezTo>
                <a:cubicBezTo>
                  <a:pt x="17" y="29"/>
                  <a:pt x="17" y="29"/>
                  <a:pt x="17" y="29"/>
                </a:cubicBezTo>
                <a:lnTo>
                  <a:pt x="29" y="21"/>
                </a:lnTo>
                <a:close/>
                <a:moveTo>
                  <a:pt x="29" y="56"/>
                </a:moveTo>
                <a:cubicBezTo>
                  <a:pt x="29" y="44"/>
                  <a:pt x="29" y="44"/>
                  <a:pt x="29" y="44"/>
                </a:cubicBezTo>
                <a:cubicBezTo>
                  <a:pt x="17" y="36"/>
                  <a:pt x="17" y="36"/>
                  <a:pt x="17" y="36"/>
                </a:cubicBezTo>
                <a:cubicBezTo>
                  <a:pt x="7" y="42"/>
                  <a:pt x="7" y="42"/>
                  <a:pt x="7" y="42"/>
                </a:cubicBezTo>
                <a:lnTo>
                  <a:pt x="29" y="56"/>
                </a:lnTo>
                <a:close/>
                <a:moveTo>
                  <a:pt x="41" y="32"/>
                </a:moveTo>
                <a:cubicBezTo>
                  <a:pt x="32" y="26"/>
                  <a:pt x="32" y="26"/>
                  <a:pt x="32" y="26"/>
                </a:cubicBezTo>
                <a:cubicBezTo>
                  <a:pt x="22" y="32"/>
                  <a:pt x="22" y="32"/>
                  <a:pt x="22" y="32"/>
                </a:cubicBezTo>
                <a:cubicBezTo>
                  <a:pt x="32" y="39"/>
                  <a:pt x="32" y="39"/>
                  <a:pt x="32" y="39"/>
                </a:cubicBezTo>
                <a:lnTo>
                  <a:pt x="41" y="32"/>
                </a:lnTo>
                <a:close/>
                <a:moveTo>
                  <a:pt x="56" y="23"/>
                </a:moveTo>
                <a:cubicBezTo>
                  <a:pt x="35" y="8"/>
                  <a:pt x="35" y="8"/>
                  <a:pt x="35" y="8"/>
                </a:cubicBezTo>
                <a:cubicBezTo>
                  <a:pt x="35" y="21"/>
                  <a:pt x="35" y="21"/>
                  <a:pt x="35" y="21"/>
                </a:cubicBezTo>
                <a:cubicBezTo>
                  <a:pt x="46" y="29"/>
                  <a:pt x="46" y="29"/>
                  <a:pt x="46" y="29"/>
                </a:cubicBezTo>
                <a:lnTo>
                  <a:pt x="56" y="23"/>
                </a:lnTo>
                <a:close/>
                <a:moveTo>
                  <a:pt x="56" y="42"/>
                </a:moveTo>
                <a:cubicBezTo>
                  <a:pt x="46" y="36"/>
                  <a:pt x="46" y="36"/>
                  <a:pt x="46" y="36"/>
                </a:cubicBezTo>
                <a:cubicBezTo>
                  <a:pt x="35" y="44"/>
                  <a:pt x="35" y="44"/>
                  <a:pt x="35" y="44"/>
                </a:cubicBezTo>
                <a:cubicBezTo>
                  <a:pt x="35" y="56"/>
                  <a:pt x="35" y="56"/>
                  <a:pt x="35" y="56"/>
                </a:cubicBezTo>
                <a:lnTo>
                  <a:pt x="56" y="42"/>
                </a:lnTo>
                <a:close/>
                <a:moveTo>
                  <a:pt x="58" y="37"/>
                </a:moveTo>
                <a:cubicBezTo>
                  <a:pt x="58" y="28"/>
                  <a:pt x="58" y="28"/>
                  <a:pt x="58" y="28"/>
                </a:cubicBezTo>
                <a:cubicBezTo>
                  <a:pt x="51" y="32"/>
                  <a:pt x="51" y="32"/>
                  <a:pt x="51" y="32"/>
                </a:cubicBezTo>
                <a:lnTo>
                  <a:pt x="58" y="37"/>
                </a:lnTo>
                <a:close/>
              </a:path>
            </a:pathLst>
          </a:custGeom>
          <a:solidFill>
            <a:schemeClr val="bg1"/>
          </a:solidFill>
          <a:ln w="9525">
            <a:noFill/>
            <a:round/>
          </a:ln>
        </p:spPr>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06" name="Shape14"/>
          <p:cNvSpPr/>
          <p:nvPr/>
        </p:nvSpPr>
        <p:spPr bwMode="auto">
          <a:xfrm>
            <a:off x="856531" y="1547335"/>
            <a:ext cx="370370" cy="370370"/>
          </a:xfrm>
          <a:custGeom>
            <a:avLst/>
            <a:gdLst/>
            <a:ahLst/>
            <a:cxnLst>
              <a:cxn ang="0">
                <a:pos x="0" y="192"/>
              </a:cxn>
              <a:cxn ang="0">
                <a:pos x="255" y="135"/>
              </a:cxn>
              <a:cxn ang="0">
                <a:pos x="277" y="122"/>
              </a:cxn>
              <a:cxn ang="0">
                <a:pos x="303" y="116"/>
              </a:cxn>
              <a:cxn ang="0">
                <a:pos x="296" y="105"/>
              </a:cxn>
              <a:cxn ang="0">
                <a:pos x="278" y="89"/>
              </a:cxn>
              <a:cxn ang="0">
                <a:pos x="265" y="90"/>
              </a:cxn>
              <a:cxn ang="0">
                <a:pos x="256" y="82"/>
              </a:cxn>
              <a:cxn ang="0">
                <a:pos x="231" y="73"/>
              </a:cxn>
              <a:cxn ang="0">
                <a:pos x="234" y="98"/>
              </a:cxn>
              <a:cxn ang="0">
                <a:pos x="224" y="118"/>
              </a:cxn>
              <a:cxn ang="0">
                <a:pos x="205" y="103"/>
              </a:cxn>
              <a:cxn ang="0">
                <a:pos x="175" y="89"/>
              </a:cxn>
              <a:cxn ang="0">
                <a:pos x="183" y="68"/>
              </a:cxn>
              <a:cxn ang="0">
                <a:pos x="212" y="58"/>
              </a:cxn>
              <a:cxn ang="0">
                <a:pos x="207" y="47"/>
              </a:cxn>
              <a:cxn ang="0">
                <a:pos x="188" y="50"/>
              </a:cxn>
              <a:cxn ang="0">
                <a:pos x="168" y="37"/>
              </a:cxn>
              <a:cxn ang="0">
                <a:pos x="171" y="52"/>
              </a:cxn>
              <a:cxn ang="0">
                <a:pos x="157" y="52"/>
              </a:cxn>
              <a:cxn ang="0">
                <a:pos x="141" y="40"/>
              </a:cxn>
              <a:cxn ang="0">
                <a:pos x="126" y="47"/>
              </a:cxn>
              <a:cxn ang="0">
                <a:pos x="143" y="51"/>
              </a:cxn>
              <a:cxn ang="0">
                <a:pos x="131" y="58"/>
              </a:cxn>
              <a:cxn ang="0">
                <a:pos x="56" y="107"/>
              </a:cxn>
              <a:cxn ang="0">
                <a:pos x="65" y="118"/>
              </a:cxn>
              <a:cxn ang="0">
                <a:pos x="79" y="135"/>
              </a:cxn>
              <a:cxn ang="0">
                <a:pos x="74" y="158"/>
              </a:cxn>
              <a:cxn ang="0">
                <a:pos x="88" y="185"/>
              </a:cxn>
              <a:cxn ang="0">
                <a:pos x="108" y="214"/>
              </a:cxn>
              <a:cxn ang="0">
                <a:pos x="118" y="227"/>
              </a:cxn>
              <a:cxn ang="0">
                <a:pos x="105" y="197"/>
              </a:cxn>
              <a:cxn ang="0">
                <a:pos x="125" y="225"/>
              </a:cxn>
              <a:cxn ang="0">
                <a:pos x="150" y="255"/>
              </a:cxn>
              <a:cxn ang="0">
                <a:pos x="184" y="269"/>
              </a:cxn>
              <a:cxn ang="0">
                <a:pos x="213" y="290"/>
              </a:cxn>
              <a:cxn ang="0">
                <a:pos x="224" y="288"/>
              </a:cxn>
              <a:cxn ang="0">
                <a:pos x="212" y="268"/>
              </a:cxn>
              <a:cxn ang="0">
                <a:pos x="197" y="262"/>
              </a:cxn>
              <a:cxn ang="0">
                <a:pos x="194" y="239"/>
              </a:cxn>
              <a:cxn ang="0">
                <a:pos x="171" y="250"/>
              </a:cxn>
              <a:cxn ang="0">
                <a:pos x="168" y="210"/>
              </a:cxn>
              <a:cxn ang="0">
                <a:pos x="184" y="206"/>
              </a:cxn>
              <a:cxn ang="0">
                <a:pos x="196" y="202"/>
              </a:cxn>
              <a:cxn ang="0">
                <a:pos x="214" y="211"/>
              </a:cxn>
              <a:cxn ang="0">
                <a:pos x="221" y="205"/>
              </a:cxn>
              <a:cxn ang="0">
                <a:pos x="234" y="179"/>
              </a:cxn>
              <a:cxn ang="0">
                <a:pos x="233" y="171"/>
              </a:cxn>
              <a:cxn ang="0">
                <a:pos x="252" y="157"/>
              </a:cxn>
              <a:cxn ang="0">
                <a:pos x="266" y="143"/>
              </a:cxn>
              <a:cxn ang="0">
                <a:pos x="273" y="131"/>
              </a:cxn>
              <a:cxn ang="0">
                <a:pos x="255" y="135"/>
              </a:cxn>
              <a:cxn ang="0">
                <a:pos x="295" y="298"/>
              </a:cxn>
              <a:cxn ang="0">
                <a:pos x="272" y="288"/>
              </a:cxn>
              <a:cxn ang="0">
                <a:pos x="251" y="288"/>
              </a:cxn>
              <a:cxn ang="0">
                <a:pos x="236" y="286"/>
              </a:cxn>
              <a:cxn ang="0">
                <a:pos x="230" y="307"/>
              </a:cxn>
              <a:cxn ang="0">
                <a:pos x="223" y="335"/>
              </a:cxn>
              <a:cxn ang="0">
                <a:pos x="308" y="302"/>
              </a:cxn>
            </a:cxnLst>
            <a:rect l="0" t="0" r="r" b="b"/>
            <a:pathLst>
              <a:path w="384" h="384">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255" y="135"/>
                </a:moveTo>
                <a:cubicBezTo>
                  <a:pt x="256" y="135"/>
                  <a:pt x="257" y="130"/>
                  <a:pt x="258" y="129"/>
                </a:cubicBezTo>
                <a:cubicBezTo>
                  <a:pt x="260" y="127"/>
                  <a:pt x="262" y="126"/>
                  <a:pt x="264" y="125"/>
                </a:cubicBezTo>
                <a:cubicBezTo>
                  <a:pt x="268" y="124"/>
                  <a:pt x="272" y="123"/>
                  <a:pt x="277" y="122"/>
                </a:cubicBezTo>
                <a:cubicBezTo>
                  <a:pt x="281" y="121"/>
                  <a:pt x="286" y="121"/>
                  <a:pt x="289" y="125"/>
                </a:cubicBezTo>
                <a:cubicBezTo>
                  <a:pt x="289" y="124"/>
                  <a:pt x="295" y="119"/>
                  <a:pt x="295" y="119"/>
                </a:cubicBezTo>
                <a:cubicBezTo>
                  <a:pt x="298" y="118"/>
                  <a:pt x="301" y="118"/>
                  <a:pt x="303" y="116"/>
                </a:cubicBezTo>
                <a:cubicBezTo>
                  <a:pt x="303" y="115"/>
                  <a:pt x="303" y="110"/>
                  <a:pt x="303" y="110"/>
                </a:cubicBezTo>
                <a:cubicBezTo>
                  <a:pt x="299" y="111"/>
                  <a:pt x="298" y="107"/>
                  <a:pt x="297" y="103"/>
                </a:cubicBezTo>
                <a:cubicBezTo>
                  <a:pt x="297" y="104"/>
                  <a:pt x="297" y="104"/>
                  <a:pt x="296" y="105"/>
                </a:cubicBezTo>
                <a:cubicBezTo>
                  <a:pt x="296" y="102"/>
                  <a:pt x="291" y="104"/>
                  <a:pt x="290" y="104"/>
                </a:cubicBezTo>
                <a:cubicBezTo>
                  <a:pt x="284" y="102"/>
                  <a:pt x="285" y="98"/>
                  <a:pt x="283" y="94"/>
                </a:cubicBezTo>
                <a:cubicBezTo>
                  <a:pt x="282" y="92"/>
                  <a:pt x="279" y="91"/>
                  <a:pt x="278" y="89"/>
                </a:cubicBezTo>
                <a:cubicBezTo>
                  <a:pt x="277" y="87"/>
                  <a:pt x="277" y="84"/>
                  <a:pt x="274" y="84"/>
                </a:cubicBezTo>
                <a:cubicBezTo>
                  <a:pt x="273" y="84"/>
                  <a:pt x="270" y="89"/>
                  <a:pt x="270" y="89"/>
                </a:cubicBezTo>
                <a:cubicBezTo>
                  <a:pt x="267" y="88"/>
                  <a:pt x="266" y="89"/>
                  <a:pt x="265" y="90"/>
                </a:cubicBezTo>
                <a:cubicBezTo>
                  <a:pt x="263" y="91"/>
                  <a:pt x="262" y="91"/>
                  <a:pt x="260" y="92"/>
                </a:cubicBezTo>
                <a:cubicBezTo>
                  <a:pt x="265" y="90"/>
                  <a:pt x="258" y="88"/>
                  <a:pt x="256" y="88"/>
                </a:cubicBezTo>
                <a:cubicBezTo>
                  <a:pt x="260" y="87"/>
                  <a:pt x="258" y="83"/>
                  <a:pt x="256" y="82"/>
                </a:cubicBezTo>
                <a:cubicBezTo>
                  <a:pt x="256" y="82"/>
                  <a:pt x="257" y="82"/>
                  <a:pt x="257" y="82"/>
                </a:cubicBezTo>
                <a:cubicBezTo>
                  <a:pt x="257" y="79"/>
                  <a:pt x="250" y="77"/>
                  <a:pt x="247" y="76"/>
                </a:cubicBezTo>
                <a:cubicBezTo>
                  <a:pt x="245" y="74"/>
                  <a:pt x="233" y="72"/>
                  <a:pt x="231" y="73"/>
                </a:cubicBezTo>
                <a:cubicBezTo>
                  <a:pt x="228" y="75"/>
                  <a:pt x="231" y="80"/>
                  <a:pt x="231" y="83"/>
                </a:cubicBezTo>
                <a:cubicBezTo>
                  <a:pt x="232" y="86"/>
                  <a:pt x="228" y="86"/>
                  <a:pt x="228" y="89"/>
                </a:cubicBezTo>
                <a:cubicBezTo>
                  <a:pt x="228" y="93"/>
                  <a:pt x="236" y="92"/>
                  <a:pt x="234" y="98"/>
                </a:cubicBezTo>
                <a:cubicBezTo>
                  <a:pt x="233" y="102"/>
                  <a:pt x="228" y="102"/>
                  <a:pt x="226" y="105"/>
                </a:cubicBezTo>
                <a:cubicBezTo>
                  <a:pt x="224" y="108"/>
                  <a:pt x="227" y="112"/>
                  <a:pt x="229" y="114"/>
                </a:cubicBezTo>
                <a:cubicBezTo>
                  <a:pt x="231" y="115"/>
                  <a:pt x="225" y="118"/>
                  <a:pt x="224" y="118"/>
                </a:cubicBezTo>
                <a:cubicBezTo>
                  <a:pt x="220" y="120"/>
                  <a:pt x="217" y="114"/>
                  <a:pt x="216" y="110"/>
                </a:cubicBezTo>
                <a:cubicBezTo>
                  <a:pt x="215" y="108"/>
                  <a:pt x="215" y="104"/>
                  <a:pt x="212" y="103"/>
                </a:cubicBezTo>
                <a:cubicBezTo>
                  <a:pt x="210" y="102"/>
                  <a:pt x="206" y="102"/>
                  <a:pt x="205" y="103"/>
                </a:cubicBezTo>
                <a:cubicBezTo>
                  <a:pt x="203" y="99"/>
                  <a:pt x="198" y="98"/>
                  <a:pt x="194" y="97"/>
                </a:cubicBezTo>
                <a:cubicBezTo>
                  <a:pt x="189" y="95"/>
                  <a:pt x="185" y="95"/>
                  <a:pt x="180" y="96"/>
                </a:cubicBezTo>
                <a:cubicBezTo>
                  <a:pt x="181" y="95"/>
                  <a:pt x="179" y="88"/>
                  <a:pt x="175" y="89"/>
                </a:cubicBezTo>
                <a:cubicBezTo>
                  <a:pt x="176" y="86"/>
                  <a:pt x="176" y="84"/>
                  <a:pt x="176" y="81"/>
                </a:cubicBezTo>
                <a:cubicBezTo>
                  <a:pt x="177" y="79"/>
                  <a:pt x="178" y="77"/>
                  <a:pt x="179" y="75"/>
                </a:cubicBezTo>
                <a:cubicBezTo>
                  <a:pt x="180" y="74"/>
                  <a:pt x="185" y="69"/>
                  <a:pt x="183" y="68"/>
                </a:cubicBezTo>
                <a:cubicBezTo>
                  <a:pt x="188" y="69"/>
                  <a:pt x="193" y="69"/>
                  <a:pt x="196" y="66"/>
                </a:cubicBezTo>
                <a:cubicBezTo>
                  <a:pt x="198" y="63"/>
                  <a:pt x="199" y="60"/>
                  <a:pt x="202" y="57"/>
                </a:cubicBezTo>
                <a:cubicBezTo>
                  <a:pt x="205" y="53"/>
                  <a:pt x="209" y="58"/>
                  <a:pt x="212" y="58"/>
                </a:cubicBezTo>
                <a:cubicBezTo>
                  <a:pt x="217" y="59"/>
                  <a:pt x="217" y="53"/>
                  <a:pt x="214" y="51"/>
                </a:cubicBezTo>
                <a:cubicBezTo>
                  <a:pt x="218" y="51"/>
                  <a:pt x="215" y="45"/>
                  <a:pt x="213" y="44"/>
                </a:cubicBezTo>
                <a:cubicBezTo>
                  <a:pt x="211" y="43"/>
                  <a:pt x="202" y="46"/>
                  <a:pt x="207" y="47"/>
                </a:cubicBezTo>
                <a:cubicBezTo>
                  <a:pt x="206" y="47"/>
                  <a:pt x="200" y="59"/>
                  <a:pt x="196" y="53"/>
                </a:cubicBezTo>
                <a:cubicBezTo>
                  <a:pt x="195" y="52"/>
                  <a:pt x="195" y="47"/>
                  <a:pt x="193" y="46"/>
                </a:cubicBezTo>
                <a:cubicBezTo>
                  <a:pt x="190" y="46"/>
                  <a:pt x="189" y="49"/>
                  <a:pt x="188" y="50"/>
                </a:cubicBezTo>
                <a:cubicBezTo>
                  <a:pt x="190" y="47"/>
                  <a:pt x="181" y="45"/>
                  <a:pt x="180" y="44"/>
                </a:cubicBezTo>
                <a:cubicBezTo>
                  <a:pt x="183" y="42"/>
                  <a:pt x="180" y="39"/>
                  <a:pt x="178" y="38"/>
                </a:cubicBezTo>
                <a:cubicBezTo>
                  <a:pt x="176" y="36"/>
                  <a:pt x="169" y="35"/>
                  <a:pt x="168" y="37"/>
                </a:cubicBezTo>
                <a:cubicBezTo>
                  <a:pt x="163" y="43"/>
                  <a:pt x="173" y="44"/>
                  <a:pt x="175" y="45"/>
                </a:cubicBezTo>
                <a:cubicBezTo>
                  <a:pt x="176" y="46"/>
                  <a:pt x="179" y="48"/>
                  <a:pt x="177" y="49"/>
                </a:cubicBezTo>
                <a:cubicBezTo>
                  <a:pt x="176" y="50"/>
                  <a:pt x="171" y="51"/>
                  <a:pt x="171" y="52"/>
                </a:cubicBezTo>
                <a:cubicBezTo>
                  <a:pt x="169" y="54"/>
                  <a:pt x="172" y="57"/>
                  <a:pt x="170" y="59"/>
                </a:cubicBezTo>
                <a:cubicBezTo>
                  <a:pt x="168" y="57"/>
                  <a:pt x="168" y="53"/>
                  <a:pt x="166" y="50"/>
                </a:cubicBezTo>
                <a:cubicBezTo>
                  <a:pt x="168" y="53"/>
                  <a:pt x="157" y="52"/>
                  <a:pt x="157" y="52"/>
                </a:cubicBezTo>
                <a:cubicBezTo>
                  <a:pt x="154" y="52"/>
                  <a:pt x="148" y="54"/>
                  <a:pt x="145" y="50"/>
                </a:cubicBezTo>
                <a:cubicBezTo>
                  <a:pt x="144" y="49"/>
                  <a:pt x="144" y="44"/>
                  <a:pt x="146" y="45"/>
                </a:cubicBezTo>
                <a:cubicBezTo>
                  <a:pt x="144" y="43"/>
                  <a:pt x="142" y="41"/>
                  <a:pt x="141" y="40"/>
                </a:cubicBezTo>
                <a:cubicBezTo>
                  <a:pt x="132" y="43"/>
                  <a:pt x="125" y="47"/>
                  <a:pt x="117" y="51"/>
                </a:cubicBezTo>
                <a:cubicBezTo>
                  <a:pt x="118" y="51"/>
                  <a:pt x="119" y="51"/>
                  <a:pt x="120" y="50"/>
                </a:cubicBezTo>
                <a:cubicBezTo>
                  <a:pt x="122" y="50"/>
                  <a:pt x="124" y="48"/>
                  <a:pt x="126" y="47"/>
                </a:cubicBezTo>
                <a:cubicBezTo>
                  <a:pt x="128" y="46"/>
                  <a:pt x="134" y="43"/>
                  <a:pt x="136" y="46"/>
                </a:cubicBezTo>
                <a:cubicBezTo>
                  <a:pt x="137" y="45"/>
                  <a:pt x="137" y="45"/>
                  <a:pt x="138" y="44"/>
                </a:cubicBezTo>
                <a:cubicBezTo>
                  <a:pt x="139" y="46"/>
                  <a:pt x="141" y="48"/>
                  <a:pt x="143" y="51"/>
                </a:cubicBezTo>
                <a:cubicBezTo>
                  <a:pt x="141" y="50"/>
                  <a:pt x="137" y="50"/>
                  <a:pt x="135" y="50"/>
                </a:cubicBezTo>
                <a:cubicBezTo>
                  <a:pt x="133" y="51"/>
                  <a:pt x="130" y="51"/>
                  <a:pt x="130" y="53"/>
                </a:cubicBezTo>
                <a:cubicBezTo>
                  <a:pt x="130" y="55"/>
                  <a:pt x="131" y="57"/>
                  <a:pt x="131" y="58"/>
                </a:cubicBezTo>
                <a:cubicBezTo>
                  <a:pt x="128" y="56"/>
                  <a:pt x="125" y="52"/>
                  <a:pt x="121" y="51"/>
                </a:cubicBezTo>
                <a:cubicBezTo>
                  <a:pt x="119" y="51"/>
                  <a:pt x="117" y="51"/>
                  <a:pt x="115" y="52"/>
                </a:cubicBezTo>
                <a:cubicBezTo>
                  <a:pt x="91" y="65"/>
                  <a:pt x="71" y="84"/>
                  <a:pt x="56" y="107"/>
                </a:cubicBezTo>
                <a:cubicBezTo>
                  <a:pt x="57" y="108"/>
                  <a:pt x="58" y="109"/>
                  <a:pt x="59" y="109"/>
                </a:cubicBezTo>
                <a:cubicBezTo>
                  <a:pt x="62" y="110"/>
                  <a:pt x="59" y="117"/>
                  <a:pt x="64" y="113"/>
                </a:cubicBezTo>
                <a:cubicBezTo>
                  <a:pt x="66" y="115"/>
                  <a:pt x="66" y="116"/>
                  <a:pt x="65" y="118"/>
                </a:cubicBezTo>
                <a:cubicBezTo>
                  <a:pt x="65" y="118"/>
                  <a:pt x="75" y="124"/>
                  <a:pt x="76" y="125"/>
                </a:cubicBezTo>
                <a:cubicBezTo>
                  <a:pt x="78" y="126"/>
                  <a:pt x="80" y="128"/>
                  <a:pt x="81" y="130"/>
                </a:cubicBezTo>
                <a:cubicBezTo>
                  <a:pt x="82" y="132"/>
                  <a:pt x="80" y="134"/>
                  <a:pt x="79" y="135"/>
                </a:cubicBezTo>
                <a:cubicBezTo>
                  <a:pt x="78" y="134"/>
                  <a:pt x="75" y="130"/>
                  <a:pt x="74" y="131"/>
                </a:cubicBezTo>
                <a:cubicBezTo>
                  <a:pt x="73" y="133"/>
                  <a:pt x="74" y="139"/>
                  <a:pt x="77" y="139"/>
                </a:cubicBezTo>
                <a:cubicBezTo>
                  <a:pt x="73" y="139"/>
                  <a:pt x="75" y="155"/>
                  <a:pt x="74" y="158"/>
                </a:cubicBezTo>
                <a:cubicBezTo>
                  <a:pt x="74" y="158"/>
                  <a:pt x="74" y="158"/>
                  <a:pt x="74" y="158"/>
                </a:cubicBezTo>
                <a:cubicBezTo>
                  <a:pt x="73" y="161"/>
                  <a:pt x="76" y="173"/>
                  <a:pt x="81" y="172"/>
                </a:cubicBezTo>
                <a:cubicBezTo>
                  <a:pt x="78" y="172"/>
                  <a:pt x="87" y="184"/>
                  <a:pt x="88" y="185"/>
                </a:cubicBezTo>
                <a:cubicBezTo>
                  <a:pt x="91" y="187"/>
                  <a:pt x="95" y="188"/>
                  <a:pt x="97" y="192"/>
                </a:cubicBezTo>
                <a:cubicBezTo>
                  <a:pt x="100" y="195"/>
                  <a:pt x="100" y="201"/>
                  <a:pt x="103" y="203"/>
                </a:cubicBezTo>
                <a:cubicBezTo>
                  <a:pt x="102" y="206"/>
                  <a:pt x="108" y="210"/>
                  <a:pt x="108" y="214"/>
                </a:cubicBezTo>
                <a:cubicBezTo>
                  <a:pt x="108" y="214"/>
                  <a:pt x="107" y="214"/>
                  <a:pt x="107" y="215"/>
                </a:cubicBezTo>
                <a:cubicBezTo>
                  <a:pt x="108" y="218"/>
                  <a:pt x="113" y="218"/>
                  <a:pt x="115" y="221"/>
                </a:cubicBezTo>
                <a:cubicBezTo>
                  <a:pt x="116" y="223"/>
                  <a:pt x="115" y="228"/>
                  <a:pt x="118" y="227"/>
                </a:cubicBezTo>
                <a:cubicBezTo>
                  <a:pt x="118" y="222"/>
                  <a:pt x="115" y="216"/>
                  <a:pt x="112" y="212"/>
                </a:cubicBezTo>
                <a:cubicBezTo>
                  <a:pt x="110" y="209"/>
                  <a:pt x="109" y="207"/>
                  <a:pt x="108" y="204"/>
                </a:cubicBezTo>
                <a:cubicBezTo>
                  <a:pt x="106" y="202"/>
                  <a:pt x="106" y="199"/>
                  <a:pt x="105" y="197"/>
                </a:cubicBezTo>
                <a:cubicBezTo>
                  <a:pt x="106" y="197"/>
                  <a:pt x="112" y="199"/>
                  <a:pt x="111" y="200"/>
                </a:cubicBezTo>
                <a:cubicBezTo>
                  <a:pt x="109" y="205"/>
                  <a:pt x="119" y="214"/>
                  <a:pt x="122" y="217"/>
                </a:cubicBezTo>
                <a:cubicBezTo>
                  <a:pt x="123" y="218"/>
                  <a:pt x="128" y="225"/>
                  <a:pt x="125" y="225"/>
                </a:cubicBezTo>
                <a:cubicBezTo>
                  <a:pt x="129" y="225"/>
                  <a:pt x="133" y="230"/>
                  <a:pt x="135" y="233"/>
                </a:cubicBezTo>
                <a:cubicBezTo>
                  <a:pt x="137" y="236"/>
                  <a:pt x="136" y="241"/>
                  <a:pt x="138" y="245"/>
                </a:cubicBezTo>
                <a:cubicBezTo>
                  <a:pt x="139" y="250"/>
                  <a:pt x="146" y="252"/>
                  <a:pt x="150" y="255"/>
                </a:cubicBezTo>
                <a:cubicBezTo>
                  <a:pt x="154" y="256"/>
                  <a:pt x="157" y="259"/>
                  <a:pt x="160" y="260"/>
                </a:cubicBezTo>
                <a:cubicBezTo>
                  <a:pt x="166" y="262"/>
                  <a:pt x="167" y="260"/>
                  <a:pt x="171" y="260"/>
                </a:cubicBezTo>
                <a:cubicBezTo>
                  <a:pt x="178" y="259"/>
                  <a:pt x="179" y="266"/>
                  <a:pt x="184" y="269"/>
                </a:cubicBezTo>
                <a:cubicBezTo>
                  <a:pt x="187" y="270"/>
                  <a:pt x="194" y="273"/>
                  <a:pt x="198" y="271"/>
                </a:cubicBezTo>
                <a:cubicBezTo>
                  <a:pt x="196" y="272"/>
                  <a:pt x="203" y="282"/>
                  <a:pt x="204" y="283"/>
                </a:cubicBezTo>
                <a:cubicBezTo>
                  <a:pt x="206" y="286"/>
                  <a:pt x="210" y="287"/>
                  <a:pt x="213" y="290"/>
                </a:cubicBezTo>
                <a:cubicBezTo>
                  <a:pt x="213" y="290"/>
                  <a:pt x="214" y="289"/>
                  <a:pt x="214" y="288"/>
                </a:cubicBezTo>
                <a:cubicBezTo>
                  <a:pt x="213" y="291"/>
                  <a:pt x="218" y="296"/>
                  <a:pt x="221" y="296"/>
                </a:cubicBezTo>
                <a:cubicBezTo>
                  <a:pt x="223" y="295"/>
                  <a:pt x="224" y="290"/>
                  <a:pt x="224" y="288"/>
                </a:cubicBezTo>
                <a:cubicBezTo>
                  <a:pt x="219" y="290"/>
                  <a:pt x="215" y="288"/>
                  <a:pt x="212" y="283"/>
                </a:cubicBezTo>
                <a:cubicBezTo>
                  <a:pt x="211" y="282"/>
                  <a:pt x="207" y="275"/>
                  <a:pt x="211" y="275"/>
                </a:cubicBezTo>
                <a:cubicBezTo>
                  <a:pt x="216" y="275"/>
                  <a:pt x="212" y="271"/>
                  <a:pt x="212" y="268"/>
                </a:cubicBezTo>
                <a:cubicBezTo>
                  <a:pt x="211" y="264"/>
                  <a:pt x="208" y="262"/>
                  <a:pt x="206" y="259"/>
                </a:cubicBezTo>
                <a:cubicBezTo>
                  <a:pt x="205" y="262"/>
                  <a:pt x="200" y="261"/>
                  <a:pt x="198" y="259"/>
                </a:cubicBezTo>
                <a:cubicBezTo>
                  <a:pt x="198" y="259"/>
                  <a:pt x="197" y="261"/>
                  <a:pt x="197" y="262"/>
                </a:cubicBezTo>
                <a:cubicBezTo>
                  <a:pt x="196" y="262"/>
                  <a:pt x="195" y="262"/>
                  <a:pt x="194" y="261"/>
                </a:cubicBezTo>
                <a:cubicBezTo>
                  <a:pt x="194" y="258"/>
                  <a:pt x="194" y="255"/>
                  <a:pt x="195" y="251"/>
                </a:cubicBezTo>
                <a:cubicBezTo>
                  <a:pt x="196" y="247"/>
                  <a:pt x="205" y="238"/>
                  <a:pt x="194" y="239"/>
                </a:cubicBezTo>
                <a:cubicBezTo>
                  <a:pt x="190" y="239"/>
                  <a:pt x="188" y="240"/>
                  <a:pt x="187" y="244"/>
                </a:cubicBezTo>
                <a:cubicBezTo>
                  <a:pt x="186" y="247"/>
                  <a:pt x="186" y="249"/>
                  <a:pt x="183" y="251"/>
                </a:cubicBezTo>
                <a:cubicBezTo>
                  <a:pt x="181" y="252"/>
                  <a:pt x="173" y="251"/>
                  <a:pt x="171" y="250"/>
                </a:cubicBezTo>
                <a:cubicBezTo>
                  <a:pt x="166" y="247"/>
                  <a:pt x="163" y="239"/>
                  <a:pt x="163" y="234"/>
                </a:cubicBezTo>
                <a:cubicBezTo>
                  <a:pt x="163" y="227"/>
                  <a:pt x="166" y="221"/>
                  <a:pt x="163" y="215"/>
                </a:cubicBezTo>
                <a:cubicBezTo>
                  <a:pt x="164" y="213"/>
                  <a:pt x="166" y="211"/>
                  <a:pt x="168" y="210"/>
                </a:cubicBezTo>
                <a:cubicBezTo>
                  <a:pt x="169" y="209"/>
                  <a:pt x="171" y="210"/>
                  <a:pt x="172" y="207"/>
                </a:cubicBezTo>
                <a:cubicBezTo>
                  <a:pt x="171" y="207"/>
                  <a:pt x="170" y="206"/>
                  <a:pt x="170" y="206"/>
                </a:cubicBezTo>
                <a:cubicBezTo>
                  <a:pt x="173" y="208"/>
                  <a:pt x="180" y="203"/>
                  <a:pt x="184" y="206"/>
                </a:cubicBezTo>
                <a:cubicBezTo>
                  <a:pt x="186" y="207"/>
                  <a:pt x="188" y="208"/>
                  <a:pt x="189" y="205"/>
                </a:cubicBezTo>
                <a:cubicBezTo>
                  <a:pt x="189" y="205"/>
                  <a:pt x="187" y="202"/>
                  <a:pt x="188" y="200"/>
                </a:cubicBezTo>
                <a:cubicBezTo>
                  <a:pt x="189" y="204"/>
                  <a:pt x="192" y="205"/>
                  <a:pt x="196" y="202"/>
                </a:cubicBezTo>
                <a:cubicBezTo>
                  <a:pt x="197" y="203"/>
                  <a:pt x="201" y="203"/>
                  <a:pt x="204" y="204"/>
                </a:cubicBezTo>
                <a:cubicBezTo>
                  <a:pt x="207" y="206"/>
                  <a:pt x="207" y="209"/>
                  <a:pt x="211" y="205"/>
                </a:cubicBezTo>
                <a:cubicBezTo>
                  <a:pt x="213" y="208"/>
                  <a:pt x="213" y="208"/>
                  <a:pt x="214" y="211"/>
                </a:cubicBezTo>
                <a:cubicBezTo>
                  <a:pt x="214" y="214"/>
                  <a:pt x="216" y="221"/>
                  <a:pt x="218" y="222"/>
                </a:cubicBezTo>
                <a:cubicBezTo>
                  <a:pt x="224" y="225"/>
                  <a:pt x="222" y="217"/>
                  <a:pt x="222" y="214"/>
                </a:cubicBezTo>
                <a:cubicBezTo>
                  <a:pt x="222" y="213"/>
                  <a:pt x="222" y="205"/>
                  <a:pt x="221" y="205"/>
                </a:cubicBezTo>
                <a:cubicBezTo>
                  <a:pt x="213" y="203"/>
                  <a:pt x="216" y="197"/>
                  <a:pt x="221" y="193"/>
                </a:cubicBezTo>
                <a:cubicBezTo>
                  <a:pt x="222" y="192"/>
                  <a:pt x="227" y="190"/>
                  <a:pt x="230" y="188"/>
                </a:cubicBezTo>
                <a:cubicBezTo>
                  <a:pt x="232" y="186"/>
                  <a:pt x="235" y="183"/>
                  <a:pt x="234" y="179"/>
                </a:cubicBezTo>
                <a:cubicBezTo>
                  <a:pt x="235" y="179"/>
                  <a:pt x="236" y="178"/>
                  <a:pt x="236" y="177"/>
                </a:cubicBezTo>
                <a:cubicBezTo>
                  <a:pt x="236" y="177"/>
                  <a:pt x="233" y="174"/>
                  <a:pt x="232" y="175"/>
                </a:cubicBezTo>
                <a:cubicBezTo>
                  <a:pt x="234" y="174"/>
                  <a:pt x="234" y="172"/>
                  <a:pt x="233" y="171"/>
                </a:cubicBezTo>
                <a:cubicBezTo>
                  <a:pt x="235" y="169"/>
                  <a:pt x="234" y="166"/>
                  <a:pt x="236" y="165"/>
                </a:cubicBezTo>
                <a:cubicBezTo>
                  <a:pt x="239" y="169"/>
                  <a:pt x="245" y="165"/>
                  <a:pt x="242" y="162"/>
                </a:cubicBezTo>
                <a:cubicBezTo>
                  <a:pt x="244" y="158"/>
                  <a:pt x="250" y="160"/>
                  <a:pt x="252" y="157"/>
                </a:cubicBezTo>
                <a:cubicBezTo>
                  <a:pt x="255" y="158"/>
                  <a:pt x="253" y="153"/>
                  <a:pt x="255" y="150"/>
                </a:cubicBezTo>
                <a:cubicBezTo>
                  <a:pt x="256" y="148"/>
                  <a:pt x="259" y="148"/>
                  <a:pt x="262" y="147"/>
                </a:cubicBezTo>
                <a:cubicBezTo>
                  <a:pt x="262" y="147"/>
                  <a:pt x="268" y="143"/>
                  <a:pt x="266" y="143"/>
                </a:cubicBezTo>
                <a:cubicBezTo>
                  <a:pt x="270" y="144"/>
                  <a:pt x="279" y="139"/>
                  <a:pt x="272" y="135"/>
                </a:cubicBezTo>
                <a:cubicBezTo>
                  <a:pt x="273" y="133"/>
                  <a:pt x="270" y="132"/>
                  <a:pt x="268" y="132"/>
                </a:cubicBezTo>
                <a:cubicBezTo>
                  <a:pt x="269" y="131"/>
                  <a:pt x="272" y="132"/>
                  <a:pt x="273" y="131"/>
                </a:cubicBezTo>
                <a:cubicBezTo>
                  <a:pt x="276" y="129"/>
                  <a:pt x="274" y="128"/>
                  <a:pt x="271" y="127"/>
                </a:cubicBezTo>
                <a:cubicBezTo>
                  <a:pt x="268" y="126"/>
                  <a:pt x="263" y="128"/>
                  <a:pt x="261" y="130"/>
                </a:cubicBezTo>
                <a:cubicBezTo>
                  <a:pt x="259" y="132"/>
                  <a:pt x="257" y="134"/>
                  <a:pt x="255" y="135"/>
                </a:cubicBezTo>
                <a:close/>
                <a:moveTo>
                  <a:pt x="308" y="302"/>
                </a:moveTo>
                <a:cubicBezTo>
                  <a:pt x="306" y="301"/>
                  <a:pt x="303" y="301"/>
                  <a:pt x="301" y="300"/>
                </a:cubicBezTo>
                <a:cubicBezTo>
                  <a:pt x="299" y="300"/>
                  <a:pt x="298" y="299"/>
                  <a:pt x="295" y="298"/>
                </a:cubicBezTo>
                <a:cubicBezTo>
                  <a:pt x="296" y="293"/>
                  <a:pt x="290" y="292"/>
                  <a:pt x="287" y="289"/>
                </a:cubicBezTo>
                <a:cubicBezTo>
                  <a:pt x="284" y="287"/>
                  <a:pt x="282" y="284"/>
                  <a:pt x="277" y="285"/>
                </a:cubicBezTo>
                <a:cubicBezTo>
                  <a:pt x="276" y="285"/>
                  <a:pt x="271" y="287"/>
                  <a:pt x="272" y="288"/>
                </a:cubicBezTo>
                <a:cubicBezTo>
                  <a:pt x="269" y="285"/>
                  <a:pt x="268" y="284"/>
                  <a:pt x="263" y="282"/>
                </a:cubicBezTo>
                <a:cubicBezTo>
                  <a:pt x="259" y="281"/>
                  <a:pt x="257" y="276"/>
                  <a:pt x="253" y="281"/>
                </a:cubicBezTo>
                <a:cubicBezTo>
                  <a:pt x="251" y="283"/>
                  <a:pt x="252" y="286"/>
                  <a:pt x="251" y="288"/>
                </a:cubicBezTo>
                <a:cubicBezTo>
                  <a:pt x="247" y="285"/>
                  <a:pt x="254" y="282"/>
                  <a:pt x="251" y="279"/>
                </a:cubicBezTo>
                <a:cubicBezTo>
                  <a:pt x="248" y="275"/>
                  <a:pt x="243" y="281"/>
                  <a:pt x="240" y="282"/>
                </a:cubicBezTo>
                <a:cubicBezTo>
                  <a:pt x="239" y="284"/>
                  <a:pt x="237" y="284"/>
                  <a:pt x="236" y="286"/>
                </a:cubicBezTo>
                <a:cubicBezTo>
                  <a:pt x="235" y="287"/>
                  <a:pt x="234" y="290"/>
                  <a:pt x="233" y="291"/>
                </a:cubicBezTo>
                <a:cubicBezTo>
                  <a:pt x="233" y="289"/>
                  <a:pt x="228" y="290"/>
                  <a:pt x="228" y="288"/>
                </a:cubicBezTo>
                <a:cubicBezTo>
                  <a:pt x="229" y="294"/>
                  <a:pt x="229" y="301"/>
                  <a:pt x="230" y="307"/>
                </a:cubicBezTo>
                <a:cubicBezTo>
                  <a:pt x="231" y="310"/>
                  <a:pt x="230" y="316"/>
                  <a:pt x="227" y="319"/>
                </a:cubicBezTo>
                <a:cubicBezTo>
                  <a:pt x="224" y="321"/>
                  <a:pt x="221" y="324"/>
                  <a:pt x="220" y="329"/>
                </a:cubicBezTo>
                <a:cubicBezTo>
                  <a:pt x="220" y="332"/>
                  <a:pt x="220" y="334"/>
                  <a:pt x="223" y="335"/>
                </a:cubicBezTo>
                <a:cubicBezTo>
                  <a:pt x="223" y="339"/>
                  <a:pt x="219" y="342"/>
                  <a:pt x="219" y="346"/>
                </a:cubicBezTo>
                <a:cubicBezTo>
                  <a:pt x="219" y="346"/>
                  <a:pt x="220" y="348"/>
                  <a:pt x="220" y="350"/>
                </a:cubicBezTo>
                <a:cubicBezTo>
                  <a:pt x="254" y="344"/>
                  <a:pt x="285" y="327"/>
                  <a:pt x="308" y="302"/>
                </a:cubicBezTo>
                <a:close/>
              </a:path>
            </a:pathLst>
          </a:custGeom>
          <a:solidFill>
            <a:schemeClr val="bg1"/>
          </a:solidFill>
          <a:ln w="9525">
            <a:noFill/>
            <a:round/>
          </a:ln>
        </p:spPr>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07" name="Shape15"/>
          <p:cNvSpPr/>
          <p:nvPr/>
        </p:nvSpPr>
        <p:spPr bwMode="auto">
          <a:xfrm>
            <a:off x="875910" y="2573403"/>
            <a:ext cx="331612" cy="331612"/>
          </a:xfrm>
          <a:custGeom>
            <a:avLst/>
            <a:gdLst/>
            <a:ahLst/>
            <a:cxnLst>
              <a:cxn ang="0">
                <a:pos x="68" y="3"/>
              </a:cxn>
              <a:cxn ang="0">
                <a:pos x="58" y="61"/>
              </a:cxn>
              <a:cxn ang="0">
                <a:pos x="57" y="63"/>
              </a:cxn>
              <a:cxn ang="0">
                <a:pos x="56" y="63"/>
              </a:cxn>
              <a:cxn ang="0">
                <a:pos x="55" y="63"/>
              </a:cxn>
              <a:cxn ang="0">
                <a:pos x="38" y="56"/>
              </a:cxn>
              <a:cxn ang="0">
                <a:pos x="28" y="67"/>
              </a:cxn>
              <a:cxn ang="0">
                <a:pos x="26" y="68"/>
              </a:cxn>
              <a:cxn ang="0">
                <a:pos x="26" y="68"/>
              </a:cxn>
              <a:cxn ang="0">
                <a:pos x="24" y="65"/>
              </a:cxn>
              <a:cxn ang="0">
                <a:pos x="24" y="52"/>
              </a:cxn>
              <a:cxn ang="0">
                <a:pos x="57" y="12"/>
              </a:cxn>
              <a:cxn ang="0">
                <a:pos x="16" y="47"/>
              </a:cxn>
              <a:cxn ang="0">
                <a:pos x="1" y="41"/>
              </a:cxn>
              <a:cxn ang="0">
                <a:pos x="0" y="39"/>
              </a:cxn>
              <a:cxn ang="0">
                <a:pos x="1" y="36"/>
              </a:cxn>
              <a:cxn ang="0">
                <a:pos x="64" y="0"/>
              </a:cxn>
              <a:cxn ang="0">
                <a:pos x="65" y="0"/>
              </a:cxn>
              <a:cxn ang="0">
                <a:pos x="67" y="0"/>
              </a:cxn>
              <a:cxn ang="0">
                <a:pos x="68" y="3"/>
              </a:cxn>
            </a:cxnLst>
            <a:rect l="0" t="0" r="r" b="b"/>
            <a:pathLst>
              <a:path w="68" h="68">
                <a:moveTo>
                  <a:pt x="68" y="3"/>
                </a:moveTo>
                <a:cubicBezTo>
                  <a:pt x="58" y="61"/>
                  <a:pt x="58" y="61"/>
                  <a:pt x="58" y="61"/>
                </a:cubicBezTo>
                <a:cubicBezTo>
                  <a:pt x="58" y="62"/>
                  <a:pt x="57" y="62"/>
                  <a:pt x="57" y="63"/>
                </a:cubicBezTo>
                <a:cubicBezTo>
                  <a:pt x="56" y="63"/>
                  <a:pt x="56" y="63"/>
                  <a:pt x="56" y="63"/>
                </a:cubicBezTo>
                <a:cubicBezTo>
                  <a:pt x="55" y="63"/>
                  <a:pt x="55" y="63"/>
                  <a:pt x="55" y="63"/>
                </a:cubicBezTo>
                <a:cubicBezTo>
                  <a:pt x="38" y="56"/>
                  <a:pt x="38" y="56"/>
                  <a:pt x="38" y="56"/>
                </a:cubicBezTo>
                <a:cubicBezTo>
                  <a:pt x="28" y="67"/>
                  <a:pt x="28" y="67"/>
                  <a:pt x="28" y="67"/>
                </a:cubicBezTo>
                <a:cubicBezTo>
                  <a:pt x="28" y="67"/>
                  <a:pt x="27" y="68"/>
                  <a:pt x="26" y="68"/>
                </a:cubicBezTo>
                <a:cubicBezTo>
                  <a:pt x="26" y="68"/>
                  <a:pt x="26" y="68"/>
                  <a:pt x="26" y="68"/>
                </a:cubicBezTo>
                <a:cubicBezTo>
                  <a:pt x="25" y="67"/>
                  <a:pt x="24" y="66"/>
                  <a:pt x="24" y="65"/>
                </a:cubicBezTo>
                <a:cubicBezTo>
                  <a:pt x="24" y="52"/>
                  <a:pt x="24" y="52"/>
                  <a:pt x="24" y="52"/>
                </a:cubicBezTo>
                <a:cubicBezTo>
                  <a:pt x="57" y="12"/>
                  <a:pt x="57" y="12"/>
                  <a:pt x="57" y="12"/>
                </a:cubicBezTo>
                <a:cubicBezTo>
                  <a:pt x="16" y="47"/>
                  <a:pt x="16" y="47"/>
                  <a:pt x="16" y="47"/>
                </a:cubicBezTo>
                <a:cubicBezTo>
                  <a:pt x="1" y="41"/>
                  <a:pt x="1" y="41"/>
                  <a:pt x="1" y="41"/>
                </a:cubicBezTo>
                <a:cubicBezTo>
                  <a:pt x="0" y="40"/>
                  <a:pt x="0" y="40"/>
                  <a:pt x="0" y="39"/>
                </a:cubicBezTo>
                <a:cubicBezTo>
                  <a:pt x="0" y="38"/>
                  <a:pt x="0" y="37"/>
                  <a:pt x="1" y="36"/>
                </a:cubicBezTo>
                <a:cubicBezTo>
                  <a:pt x="64" y="0"/>
                  <a:pt x="64" y="0"/>
                  <a:pt x="64" y="0"/>
                </a:cubicBezTo>
                <a:cubicBezTo>
                  <a:pt x="65" y="0"/>
                  <a:pt x="65" y="0"/>
                  <a:pt x="65" y="0"/>
                </a:cubicBezTo>
                <a:cubicBezTo>
                  <a:pt x="66" y="0"/>
                  <a:pt x="66" y="0"/>
                  <a:pt x="67" y="0"/>
                </a:cubicBezTo>
                <a:cubicBezTo>
                  <a:pt x="68" y="1"/>
                  <a:pt x="68" y="2"/>
                  <a:pt x="68" y="3"/>
                </a:cubicBezTo>
                <a:close/>
              </a:path>
            </a:pathLst>
          </a:custGeom>
          <a:solidFill>
            <a:schemeClr val="bg1"/>
          </a:solidFill>
          <a:ln w="9525">
            <a:noFill/>
            <a:round/>
          </a:ln>
        </p:spPr>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08" name="Shape16"/>
          <p:cNvSpPr/>
          <p:nvPr/>
        </p:nvSpPr>
        <p:spPr bwMode="auto">
          <a:xfrm>
            <a:off x="893397" y="3530644"/>
            <a:ext cx="296640" cy="433374"/>
          </a:xfrm>
          <a:custGeom>
            <a:avLst/>
            <a:gdLst/>
            <a:ahLst/>
            <a:cxnLst>
              <a:cxn ang="0">
                <a:pos x="35" y="0"/>
              </a:cxn>
              <a:cxn ang="0">
                <a:pos x="0" y="35"/>
              </a:cxn>
              <a:cxn ang="0">
                <a:pos x="16" y="74"/>
              </a:cxn>
              <a:cxn ang="0">
                <a:pos x="35" y="102"/>
              </a:cxn>
              <a:cxn ang="0">
                <a:pos x="54" y="74"/>
              </a:cxn>
              <a:cxn ang="0">
                <a:pos x="70" y="35"/>
              </a:cxn>
              <a:cxn ang="0">
                <a:pos x="35" y="0"/>
              </a:cxn>
              <a:cxn ang="0">
                <a:pos x="43" y="87"/>
              </a:cxn>
              <a:cxn ang="0">
                <a:pos x="27" y="89"/>
              </a:cxn>
              <a:cxn ang="0">
                <a:pos x="26" y="83"/>
              </a:cxn>
              <a:cxn ang="0">
                <a:pos x="26" y="83"/>
              </a:cxn>
              <a:cxn ang="0">
                <a:pos x="45" y="80"/>
              </a:cxn>
              <a:cxn ang="0">
                <a:pos x="44" y="83"/>
              </a:cxn>
              <a:cxn ang="0">
                <a:pos x="43" y="87"/>
              </a:cxn>
              <a:cxn ang="0">
                <a:pos x="25" y="79"/>
              </a:cxn>
              <a:cxn ang="0">
                <a:pos x="23" y="73"/>
              </a:cxn>
              <a:cxn ang="0">
                <a:pos x="47" y="73"/>
              </a:cxn>
              <a:cxn ang="0">
                <a:pos x="46" y="77"/>
              </a:cxn>
              <a:cxn ang="0">
                <a:pos x="25" y="79"/>
              </a:cxn>
              <a:cxn ang="0">
                <a:pos x="35" y="96"/>
              </a:cxn>
              <a:cxn ang="0">
                <a:pos x="29" y="92"/>
              </a:cxn>
              <a:cxn ang="0">
                <a:pos x="42" y="90"/>
              </a:cxn>
              <a:cxn ang="0">
                <a:pos x="35" y="96"/>
              </a:cxn>
              <a:cxn ang="0">
                <a:pos x="50" y="67"/>
              </a:cxn>
              <a:cxn ang="0">
                <a:pos x="20" y="67"/>
              </a:cxn>
              <a:cxn ang="0">
                <a:pos x="15" y="57"/>
              </a:cxn>
              <a:cxn ang="0">
                <a:pos x="6" y="35"/>
              </a:cxn>
              <a:cxn ang="0">
                <a:pos x="35" y="6"/>
              </a:cxn>
              <a:cxn ang="0">
                <a:pos x="64" y="35"/>
              </a:cxn>
              <a:cxn ang="0">
                <a:pos x="55" y="57"/>
              </a:cxn>
              <a:cxn ang="0">
                <a:pos x="50" y="67"/>
              </a:cxn>
              <a:cxn ang="0">
                <a:pos x="50" y="67"/>
              </a:cxn>
              <a:cxn ang="0">
                <a:pos x="50" y="67"/>
              </a:cxn>
            </a:cxnLst>
            <a:rect l="0" t="0" r="r" b="b"/>
            <a:pathLst>
              <a:path w="70" h="102">
                <a:moveTo>
                  <a:pt x="35" y="0"/>
                </a:moveTo>
                <a:cubicBezTo>
                  <a:pt x="16" y="0"/>
                  <a:pt x="0" y="16"/>
                  <a:pt x="0" y="35"/>
                </a:cubicBezTo>
                <a:cubicBezTo>
                  <a:pt x="0" y="48"/>
                  <a:pt x="12" y="62"/>
                  <a:pt x="16" y="74"/>
                </a:cubicBezTo>
                <a:cubicBezTo>
                  <a:pt x="22" y="91"/>
                  <a:pt x="22" y="102"/>
                  <a:pt x="35" y="102"/>
                </a:cubicBezTo>
                <a:cubicBezTo>
                  <a:pt x="49" y="102"/>
                  <a:pt x="48" y="92"/>
                  <a:pt x="54" y="74"/>
                </a:cubicBezTo>
                <a:cubicBezTo>
                  <a:pt x="58" y="62"/>
                  <a:pt x="70" y="48"/>
                  <a:pt x="70" y="35"/>
                </a:cubicBezTo>
                <a:cubicBezTo>
                  <a:pt x="70" y="16"/>
                  <a:pt x="54" y="0"/>
                  <a:pt x="35" y="0"/>
                </a:cubicBezTo>
                <a:close/>
                <a:moveTo>
                  <a:pt x="43" y="87"/>
                </a:moveTo>
                <a:cubicBezTo>
                  <a:pt x="27" y="89"/>
                  <a:pt x="27" y="89"/>
                  <a:pt x="27" y="89"/>
                </a:cubicBezTo>
                <a:cubicBezTo>
                  <a:pt x="27" y="87"/>
                  <a:pt x="26" y="85"/>
                  <a:pt x="26" y="83"/>
                </a:cubicBezTo>
                <a:cubicBezTo>
                  <a:pt x="26" y="83"/>
                  <a:pt x="26" y="83"/>
                  <a:pt x="26" y="83"/>
                </a:cubicBezTo>
                <a:cubicBezTo>
                  <a:pt x="45" y="80"/>
                  <a:pt x="45" y="80"/>
                  <a:pt x="45" y="80"/>
                </a:cubicBezTo>
                <a:cubicBezTo>
                  <a:pt x="45" y="81"/>
                  <a:pt x="45" y="82"/>
                  <a:pt x="44" y="83"/>
                </a:cubicBezTo>
                <a:cubicBezTo>
                  <a:pt x="44" y="84"/>
                  <a:pt x="44" y="86"/>
                  <a:pt x="43" y="87"/>
                </a:cubicBezTo>
                <a:close/>
                <a:moveTo>
                  <a:pt x="25" y="79"/>
                </a:moveTo>
                <a:cubicBezTo>
                  <a:pt x="24" y="78"/>
                  <a:pt x="23" y="76"/>
                  <a:pt x="23" y="73"/>
                </a:cubicBezTo>
                <a:cubicBezTo>
                  <a:pt x="47" y="73"/>
                  <a:pt x="47" y="73"/>
                  <a:pt x="47" y="73"/>
                </a:cubicBezTo>
                <a:cubicBezTo>
                  <a:pt x="47" y="75"/>
                  <a:pt x="47" y="76"/>
                  <a:pt x="46" y="77"/>
                </a:cubicBezTo>
                <a:lnTo>
                  <a:pt x="25" y="79"/>
                </a:lnTo>
                <a:close/>
                <a:moveTo>
                  <a:pt x="35" y="96"/>
                </a:moveTo>
                <a:cubicBezTo>
                  <a:pt x="32" y="96"/>
                  <a:pt x="30" y="95"/>
                  <a:pt x="29" y="92"/>
                </a:cubicBezTo>
                <a:cubicBezTo>
                  <a:pt x="42" y="90"/>
                  <a:pt x="42" y="90"/>
                  <a:pt x="42" y="90"/>
                </a:cubicBezTo>
                <a:cubicBezTo>
                  <a:pt x="40" y="95"/>
                  <a:pt x="39" y="96"/>
                  <a:pt x="35" y="96"/>
                </a:cubicBezTo>
                <a:close/>
                <a:moveTo>
                  <a:pt x="50" y="67"/>
                </a:moveTo>
                <a:cubicBezTo>
                  <a:pt x="20" y="67"/>
                  <a:pt x="20" y="67"/>
                  <a:pt x="20" y="67"/>
                </a:cubicBezTo>
                <a:cubicBezTo>
                  <a:pt x="19" y="64"/>
                  <a:pt x="17" y="60"/>
                  <a:pt x="15" y="57"/>
                </a:cubicBezTo>
                <a:cubicBezTo>
                  <a:pt x="11" y="49"/>
                  <a:pt x="6" y="41"/>
                  <a:pt x="6" y="35"/>
                </a:cubicBezTo>
                <a:cubicBezTo>
                  <a:pt x="6" y="19"/>
                  <a:pt x="19" y="6"/>
                  <a:pt x="35" y="6"/>
                </a:cubicBezTo>
                <a:cubicBezTo>
                  <a:pt x="51" y="6"/>
                  <a:pt x="64" y="19"/>
                  <a:pt x="64" y="35"/>
                </a:cubicBezTo>
                <a:cubicBezTo>
                  <a:pt x="64" y="41"/>
                  <a:pt x="60" y="49"/>
                  <a:pt x="55" y="57"/>
                </a:cubicBezTo>
                <a:cubicBezTo>
                  <a:pt x="53" y="60"/>
                  <a:pt x="52" y="64"/>
                  <a:pt x="50" y="67"/>
                </a:cubicBezTo>
                <a:close/>
                <a:moveTo>
                  <a:pt x="50" y="67"/>
                </a:moveTo>
                <a:cubicBezTo>
                  <a:pt x="50" y="67"/>
                  <a:pt x="50" y="67"/>
                  <a:pt x="50" y="67"/>
                </a:cubicBezTo>
              </a:path>
            </a:pathLst>
          </a:custGeom>
          <a:solidFill>
            <a:schemeClr val="bg1"/>
          </a:solidFill>
          <a:ln w="9525">
            <a:noFill/>
            <a:round/>
          </a:ln>
        </p:spPr>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09" name="Shape17"/>
          <p:cNvSpPr/>
          <p:nvPr/>
        </p:nvSpPr>
        <p:spPr bwMode="auto">
          <a:xfrm>
            <a:off x="7912845" y="1589009"/>
            <a:ext cx="378880" cy="284161"/>
          </a:xfrm>
          <a:custGeom>
            <a:avLst/>
            <a:gdLst/>
            <a:ahLst/>
            <a:cxnLst>
              <a:cxn ang="0">
                <a:pos x="78" y="58"/>
              </a:cxn>
              <a:cxn ang="0">
                <a:pos x="0" y="58"/>
              </a:cxn>
              <a:cxn ang="0">
                <a:pos x="0" y="0"/>
              </a:cxn>
              <a:cxn ang="0">
                <a:pos x="5" y="0"/>
              </a:cxn>
              <a:cxn ang="0">
                <a:pos x="5" y="53"/>
              </a:cxn>
              <a:cxn ang="0">
                <a:pos x="78" y="53"/>
              </a:cxn>
              <a:cxn ang="0">
                <a:pos x="78" y="58"/>
              </a:cxn>
              <a:cxn ang="0">
                <a:pos x="73" y="22"/>
              </a:cxn>
              <a:cxn ang="0">
                <a:pos x="71" y="23"/>
              </a:cxn>
              <a:cxn ang="0">
                <a:pos x="66" y="18"/>
              </a:cxn>
              <a:cxn ang="0">
                <a:pos x="42" y="42"/>
              </a:cxn>
              <a:cxn ang="0">
                <a:pos x="40" y="42"/>
              </a:cxn>
              <a:cxn ang="0">
                <a:pos x="31" y="34"/>
              </a:cxn>
              <a:cxn ang="0">
                <a:pos x="16" y="49"/>
              </a:cxn>
              <a:cxn ang="0">
                <a:pos x="8" y="42"/>
              </a:cxn>
              <a:cxn ang="0">
                <a:pos x="30" y="20"/>
              </a:cxn>
              <a:cxn ang="0">
                <a:pos x="32" y="20"/>
              </a:cxn>
              <a:cxn ang="0">
                <a:pos x="41" y="29"/>
              </a:cxn>
              <a:cxn ang="0">
                <a:pos x="59" y="11"/>
              </a:cxn>
              <a:cxn ang="0">
                <a:pos x="54" y="6"/>
              </a:cxn>
              <a:cxn ang="0">
                <a:pos x="55" y="4"/>
              </a:cxn>
              <a:cxn ang="0">
                <a:pos x="71" y="4"/>
              </a:cxn>
              <a:cxn ang="0">
                <a:pos x="73" y="6"/>
              </a:cxn>
              <a:cxn ang="0">
                <a:pos x="73" y="22"/>
              </a:cxn>
            </a:cxnLst>
            <a:rect l="0" t="0" r="r" b="b"/>
            <a:pathLst>
              <a:path w="78" h="58">
                <a:moveTo>
                  <a:pt x="78" y="58"/>
                </a:moveTo>
                <a:cubicBezTo>
                  <a:pt x="0" y="58"/>
                  <a:pt x="0" y="58"/>
                  <a:pt x="0" y="58"/>
                </a:cubicBezTo>
                <a:cubicBezTo>
                  <a:pt x="0" y="0"/>
                  <a:pt x="0" y="0"/>
                  <a:pt x="0" y="0"/>
                </a:cubicBezTo>
                <a:cubicBezTo>
                  <a:pt x="5" y="0"/>
                  <a:pt x="5" y="0"/>
                  <a:pt x="5" y="0"/>
                </a:cubicBezTo>
                <a:cubicBezTo>
                  <a:pt x="5" y="53"/>
                  <a:pt x="5" y="53"/>
                  <a:pt x="5" y="53"/>
                </a:cubicBezTo>
                <a:cubicBezTo>
                  <a:pt x="78" y="53"/>
                  <a:pt x="78" y="53"/>
                  <a:pt x="78" y="53"/>
                </a:cubicBezTo>
                <a:lnTo>
                  <a:pt x="78" y="58"/>
                </a:lnTo>
                <a:close/>
                <a:moveTo>
                  <a:pt x="73" y="22"/>
                </a:moveTo>
                <a:cubicBezTo>
                  <a:pt x="73" y="23"/>
                  <a:pt x="71" y="24"/>
                  <a:pt x="71" y="23"/>
                </a:cubicBezTo>
                <a:cubicBezTo>
                  <a:pt x="66" y="18"/>
                  <a:pt x="66" y="18"/>
                  <a:pt x="66" y="18"/>
                </a:cubicBezTo>
                <a:cubicBezTo>
                  <a:pt x="42" y="42"/>
                  <a:pt x="42" y="42"/>
                  <a:pt x="42" y="42"/>
                </a:cubicBezTo>
                <a:cubicBezTo>
                  <a:pt x="41" y="43"/>
                  <a:pt x="41" y="43"/>
                  <a:pt x="40" y="42"/>
                </a:cubicBezTo>
                <a:cubicBezTo>
                  <a:pt x="31" y="34"/>
                  <a:pt x="31" y="34"/>
                  <a:pt x="31" y="34"/>
                </a:cubicBezTo>
                <a:cubicBezTo>
                  <a:pt x="16" y="49"/>
                  <a:pt x="16" y="49"/>
                  <a:pt x="16" y="49"/>
                </a:cubicBezTo>
                <a:cubicBezTo>
                  <a:pt x="8" y="42"/>
                  <a:pt x="8" y="42"/>
                  <a:pt x="8" y="42"/>
                </a:cubicBezTo>
                <a:cubicBezTo>
                  <a:pt x="30" y="20"/>
                  <a:pt x="30" y="20"/>
                  <a:pt x="30" y="20"/>
                </a:cubicBezTo>
                <a:cubicBezTo>
                  <a:pt x="31" y="19"/>
                  <a:pt x="32" y="19"/>
                  <a:pt x="32" y="20"/>
                </a:cubicBezTo>
                <a:cubicBezTo>
                  <a:pt x="41" y="29"/>
                  <a:pt x="41" y="29"/>
                  <a:pt x="41" y="29"/>
                </a:cubicBezTo>
                <a:cubicBezTo>
                  <a:pt x="59" y="11"/>
                  <a:pt x="59" y="11"/>
                  <a:pt x="59" y="11"/>
                </a:cubicBezTo>
                <a:cubicBezTo>
                  <a:pt x="54" y="6"/>
                  <a:pt x="54" y="6"/>
                  <a:pt x="54" y="6"/>
                </a:cubicBezTo>
                <a:cubicBezTo>
                  <a:pt x="53" y="6"/>
                  <a:pt x="54" y="4"/>
                  <a:pt x="55" y="4"/>
                </a:cubicBezTo>
                <a:cubicBezTo>
                  <a:pt x="71" y="4"/>
                  <a:pt x="71" y="4"/>
                  <a:pt x="71" y="4"/>
                </a:cubicBezTo>
                <a:cubicBezTo>
                  <a:pt x="72" y="4"/>
                  <a:pt x="73" y="5"/>
                  <a:pt x="73" y="6"/>
                </a:cubicBezTo>
                <a:lnTo>
                  <a:pt x="73" y="22"/>
                </a:lnTo>
                <a:close/>
              </a:path>
            </a:pathLst>
          </a:custGeom>
          <a:solidFill>
            <a:schemeClr val="bg1"/>
          </a:solidFill>
          <a:ln w="9525">
            <a:noFill/>
            <a:round/>
          </a:ln>
        </p:spPr>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10" name="Shape18"/>
          <p:cNvSpPr/>
          <p:nvPr/>
        </p:nvSpPr>
        <p:spPr bwMode="auto">
          <a:xfrm>
            <a:off x="7950606" y="3605255"/>
            <a:ext cx="303361" cy="284161"/>
          </a:xfrm>
          <a:custGeom>
            <a:avLst/>
            <a:gdLst/>
            <a:ahLst/>
            <a:cxnLst>
              <a:cxn ang="0">
                <a:pos x="13" y="39"/>
              </a:cxn>
              <a:cxn ang="0">
                <a:pos x="8" y="39"/>
              </a:cxn>
              <a:cxn ang="0">
                <a:pos x="0" y="33"/>
              </a:cxn>
              <a:cxn ang="0">
                <a:pos x="5" y="19"/>
              </a:cxn>
              <a:cxn ang="0">
                <a:pos x="15" y="22"/>
              </a:cxn>
              <a:cxn ang="0">
                <a:pos x="20" y="21"/>
              </a:cxn>
              <a:cxn ang="0">
                <a:pos x="20" y="24"/>
              </a:cxn>
              <a:cxn ang="0">
                <a:pos x="23" y="34"/>
              </a:cxn>
              <a:cxn ang="0">
                <a:pos x="13" y="39"/>
              </a:cxn>
              <a:cxn ang="0">
                <a:pos x="15" y="19"/>
              </a:cxn>
              <a:cxn ang="0">
                <a:pos x="5" y="9"/>
              </a:cxn>
              <a:cxn ang="0">
                <a:pos x="15" y="0"/>
              </a:cxn>
              <a:cxn ang="0">
                <a:pos x="25" y="9"/>
              </a:cxn>
              <a:cxn ang="0">
                <a:pos x="15" y="19"/>
              </a:cxn>
              <a:cxn ang="0">
                <a:pos x="53" y="68"/>
              </a:cxn>
              <a:cxn ang="0">
                <a:pos x="20" y="68"/>
              </a:cxn>
              <a:cxn ang="0">
                <a:pos x="10" y="58"/>
              </a:cxn>
              <a:cxn ang="0">
                <a:pos x="23" y="36"/>
              </a:cxn>
              <a:cxn ang="0">
                <a:pos x="37" y="41"/>
              </a:cxn>
              <a:cxn ang="0">
                <a:pos x="50" y="36"/>
              </a:cxn>
              <a:cxn ang="0">
                <a:pos x="64" y="58"/>
              </a:cxn>
              <a:cxn ang="0">
                <a:pos x="53" y="68"/>
              </a:cxn>
              <a:cxn ang="0">
                <a:pos x="37" y="39"/>
              </a:cxn>
              <a:cxn ang="0">
                <a:pos x="22" y="24"/>
              </a:cxn>
              <a:cxn ang="0">
                <a:pos x="37" y="9"/>
              </a:cxn>
              <a:cxn ang="0">
                <a:pos x="51" y="24"/>
              </a:cxn>
              <a:cxn ang="0">
                <a:pos x="37" y="39"/>
              </a:cxn>
              <a:cxn ang="0">
                <a:pos x="59" y="19"/>
              </a:cxn>
              <a:cxn ang="0">
                <a:pos x="49" y="9"/>
              </a:cxn>
              <a:cxn ang="0">
                <a:pos x="59" y="0"/>
              </a:cxn>
              <a:cxn ang="0">
                <a:pos x="68" y="9"/>
              </a:cxn>
              <a:cxn ang="0">
                <a:pos x="59" y="19"/>
              </a:cxn>
              <a:cxn ang="0">
                <a:pos x="66" y="39"/>
              </a:cxn>
              <a:cxn ang="0">
                <a:pos x="61" y="39"/>
              </a:cxn>
              <a:cxn ang="0">
                <a:pos x="51" y="34"/>
              </a:cxn>
              <a:cxn ang="0">
                <a:pos x="54" y="24"/>
              </a:cxn>
              <a:cxn ang="0">
                <a:pos x="54" y="21"/>
              </a:cxn>
              <a:cxn ang="0">
                <a:pos x="59" y="22"/>
              </a:cxn>
              <a:cxn ang="0">
                <a:pos x="69" y="19"/>
              </a:cxn>
              <a:cxn ang="0">
                <a:pos x="73" y="33"/>
              </a:cxn>
              <a:cxn ang="0">
                <a:pos x="66" y="39"/>
              </a:cxn>
            </a:cxnLst>
            <a:rect l="0" t="0" r="r" b="b"/>
            <a:pathLst>
              <a:path w="73" h="68">
                <a:moveTo>
                  <a:pt x="13" y="39"/>
                </a:moveTo>
                <a:cubicBezTo>
                  <a:pt x="8" y="39"/>
                  <a:pt x="8" y="39"/>
                  <a:pt x="8" y="39"/>
                </a:cubicBezTo>
                <a:cubicBezTo>
                  <a:pt x="4" y="39"/>
                  <a:pt x="0" y="37"/>
                  <a:pt x="0" y="33"/>
                </a:cubicBezTo>
                <a:cubicBezTo>
                  <a:pt x="0" y="29"/>
                  <a:pt x="0" y="19"/>
                  <a:pt x="5" y="19"/>
                </a:cubicBezTo>
                <a:cubicBezTo>
                  <a:pt x="6" y="19"/>
                  <a:pt x="10" y="22"/>
                  <a:pt x="15" y="22"/>
                </a:cubicBezTo>
                <a:cubicBezTo>
                  <a:pt x="17" y="22"/>
                  <a:pt x="18" y="22"/>
                  <a:pt x="20" y="21"/>
                </a:cubicBezTo>
                <a:cubicBezTo>
                  <a:pt x="20" y="22"/>
                  <a:pt x="20" y="23"/>
                  <a:pt x="20" y="24"/>
                </a:cubicBezTo>
                <a:cubicBezTo>
                  <a:pt x="20" y="27"/>
                  <a:pt x="21" y="31"/>
                  <a:pt x="23" y="34"/>
                </a:cubicBezTo>
                <a:cubicBezTo>
                  <a:pt x="19" y="34"/>
                  <a:pt x="15" y="36"/>
                  <a:pt x="13" y="39"/>
                </a:cubicBezTo>
                <a:close/>
                <a:moveTo>
                  <a:pt x="15" y="19"/>
                </a:moveTo>
                <a:cubicBezTo>
                  <a:pt x="10" y="19"/>
                  <a:pt x="5" y="15"/>
                  <a:pt x="5" y="9"/>
                </a:cubicBezTo>
                <a:cubicBezTo>
                  <a:pt x="5" y="4"/>
                  <a:pt x="10" y="0"/>
                  <a:pt x="15" y="0"/>
                </a:cubicBezTo>
                <a:cubicBezTo>
                  <a:pt x="20" y="0"/>
                  <a:pt x="25" y="4"/>
                  <a:pt x="25" y="9"/>
                </a:cubicBezTo>
                <a:cubicBezTo>
                  <a:pt x="25" y="15"/>
                  <a:pt x="20" y="19"/>
                  <a:pt x="15" y="19"/>
                </a:cubicBezTo>
                <a:close/>
                <a:moveTo>
                  <a:pt x="53" y="68"/>
                </a:moveTo>
                <a:cubicBezTo>
                  <a:pt x="20" y="68"/>
                  <a:pt x="20" y="68"/>
                  <a:pt x="20" y="68"/>
                </a:cubicBezTo>
                <a:cubicBezTo>
                  <a:pt x="14" y="68"/>
                  <a:pt x="10" y="64"/>
                  <a:pt x="10" y="58"/>
                </a:cubicBezTo>
                <a:cubicBezTo>
                  <a:pt x="10" y="49"/>
                  <a:pt x="12" y="36"/>
                  <a:pt x="23" y="36"/>
                </a:cubicBezTo>
                <a:cubicBezTo>
                  <a:pt x="25" y="36"/>
                  <a:pt x="29" y="41"/>
                  <a:pt x="37" y="41"/>
                </a:cubicBezTo>
                <a:cubicBezTo>
                  <a:pt x="44" y="41"/>
                  <a:pt x="49" y="36"/>
                  <a:pt x="50" y="36"/>
                </a:cubicBezTo>
                <a:cubicBezTo>
                  <a:pt x="62" y="36"/>
                  <a:pt x="64" y="49"/>
                  <a:pt x="64" y="58"/>
                </a:cubicBezTo>
                <a:cubicBezTo>
                  <a:pt x="64" y="64"/>
                  <a:pt x="60" y="68"/>
                  <a:pt x="53" y="68"/>
                </a:cubicBezTo>
                <a:close/>
                <a:moveTo>
                  <a:pt x="37" y="39"/>
                </a:moveTo>
                <a:cubicBezTo>
                  <a:pt x="29" y="39"/>
                  <a:pt x="22" y="32"/>
                  <a:pt x="22" y="24"/>
                </a:cubicBezTo>
                <a:cubicBezTo>
                  <a:pt x="22" y="16"/>
                  <a:pt x="29" y="9"/>
                  <a:pt x="37" y="9"/>
                </a:cubicBezTo>
                <a:cubicBezTo>
                  <a:pt x="45" y="9"/>
                  <a:pt x="51" y="16"/>
                  <a:pt x="51" y="24"/>
                </a:cubicBezTo>
                <a:cubicBezTo>
                  <a:pt x="51" y="32"/>
                  <a:pt x="45" y="39"/>
                  <a:pt x="37" y="39"/>
                </a:cubicBezTo>
                <a:close/>
                <a:moveTo>
                  <a:pt x="59" y="19"/>
                </a:moveTo>
                <a:cubicBezTo>
                  <a:pt x="53" y="19"/>
                  <a:pt x="49" y="15"/>
                  <a:pt x="49" y="9"/>
                </a:cubicBezTo>
                <a:cubicBezTo>
                  <a:pt x="49" y="4"/>
                  <a:pt x="53" y="0"/>
                  <a:pt x="59" y="0"/>
                </a:cubicBezTo>
                <a:cubicBezTo>
                  <a:pt x="64" y="0"/>
                  <a:pt x="68" y="4"/>
                  <a:pt x="68" y="9"/>
                </a:cubicBezTo>
                <a:cubicBezTo>
                  <a:pt x="68" y="15"/>
                  <a:pt x="64" y="19"/>
                  <a:pt x="59" y="19"/>
                </a:cubicBezTo>
                <a:close/>
                <a:moveTo>
                  <a:pt x="66" y="39"/>
                </a:moveTo>
                <a:cubicBezTo>
                  <a:pt x="61" y="39"/>
                  <a:pt x="61" y="39"/>
                  <a:pt x="61" y="39"/>
                </a:cubicBezTo>
                <a:cubicBezTo>
                  <a:pt x="58" y="36"/>
                  <a:pt x="55" y="34"/>
                  <a:pt x="51" y="34"/>
                </a:cubicBezTo>
                <a:cubicBezTo>
                  <a:pt x="53" y="31"/>
                  <a:pt x="54" y="27"/>
                  <a:pt x="54" y="24"/>
                </a:cubicBezTo>
                <a:cubicBezTo>
                  <a:pt x="54" y="23"/>
                  <a:pt x="54" y="22"/>
                  <a:pt x="54" y="21"/>
                </a:cubicBezTo>
                <a:cubicBezTo>
                  <a:pt x="55" y="22"/>
                  <a:pt x="57" y="22"/>
                  <a:pt x="59" y="22"/>
                </a:cubicBezTo>
                <a:cubicBezTo>
                  <a:pt x="64" y="22"/>
                  <a:pt x="68" y="19"/>
                  <a:pt x="69" y="19"/>
                </a:cubicBezTo>
                <a:cubicBezTo>
                  <a:pt x="73" y="19"/>
                  <a:pt x="73" y="29"/>
                  <a:pt x="73" y="33"/>
                </a:cubicBezTo>
                <a:cubicBezTo>
                  <a:pt x="73" y="37"/>
                  <a:pt x="70" y="39"/>
                  <a:pt x="66" y="39"/>
                </a:cubicBezTo>
                <a:close/>
              </a:path>
            </a:pathLst>
          </a:custGeom>
          <a:solidFill>
            <a:schemeClr val="bg1"/>
          </a:solidFill>
          <a:ln w="9525">
            <a:noFill/>
            <a:round/>
          </a:ln>
        </p:spPr>
        <p:txBody>
          <a:bodyPr anchor="ctr"/>
          <a:lstStyle/>
          <a:p>
            <a:pPr algn="ctr"/>
            <a:endParaRPr sz="180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12" name="Shape20"/>
          <p:cNvSpPr txBox="1"/>
          <p:nvPr>
            <p:custDataLst>
              <p:tags r:id="rId1"/>
            </p:custDataLst>
          </p:nvPr>
        </p:nvSpPr>
        <p:spPr>
          <a:xfrm>
            <a:off x="1576075" y="1669023"/>
            <a:ext cx="2723362" cy="506730"/>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 </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全国</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7*24</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小时客服热线</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95393</a:t>
            </a:r>
            <a:endPar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endParaRPr>
          </a:p>
          <a:p>
            <a:pP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 </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专属客户经理</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endPar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endParaRPr>
          </a:p>
        </p:txBody>
      </p:sp>
      <p:sp>
        <p:nvSpPr>
          <p:cNvPr id="1048914" name="Shape22"/>
          <p:cNvSpPr txBox="1"/>
          <p:nvPr>
            <p:custDataLst>
              <p:tags r:id="rId2"/>
            </p:custDataLst>
          </p:nvPr>
        </p:nvSpPr>
        <p:spPr>
          <a:xfrm>
            <a:off x="1576075" y="2633100"/>
            <a:ext cx="2723362" cy="506730"/>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 </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事故损失程度及数量证明材料</a:t>
            </a:r>
            <a:endPar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endParaRPr>
          </a:p>
          <a:p>
            <a:pP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 </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其他必要的理赔资料</a:t>
            </a:r>
            <a:endPar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endParaRPr>
          </a:p>
        </p:txBody>
      </p:sp>
      <p:sp>
        <p:nvSpPr>
          <p:cNvPr id="1048916" name="Shape24"/>
          <p:cNvSpPr txBox="1"/>
          <p:nvPr>
            <p:custDataLst>
              <p:tags r:id="rId3"/>
            </p:custDataLst>
          </p:nvPr>
        </p:nvSpPr>
        <p:spPr>
          <a:xfrm>
            <a:off x="1576075" y="3748791"/>
            <a:ext cx="2723362" cy="299085"/>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a:t>
            </a:r>
            <a:r>
              <a:rPr lang="en-US" altLang="zh-CN"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 </a:t>
            </a: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rPr>
              <a:t>专属理赔人员进行现场认定及风勘</a:t>
            </a:r>
            <a:endParaRPr lang="zh-CN" altLang="en-US" sz="900" dirty="0">
              <a:solidFill>
                <a:schemeClr val="tx1"/>
              </a:solidFill>
              <a:latin typeface="汉仪旗黑X1-55W" panose="00020600040101010101" pitchFamily="18" charset="-122"/>
              <a:ea typeface="汉仪旗黑X1-55W" panose="00020600040101010101" pitchFamily="18" charset="-122"/>
              <a:cs typeface="+mn-ea"/>
              <a:sym typeface="Wingdings 2" panose="05020102010507070707" charset="0"/>
            </a:endParaRPr>
          </a:p>
        </p:txBody>
      </p:sp>
      <p:sp>
        <p:nvSpPr>
          <p:cNvPr id="1048918" name="Shape26"/>
          <p:cNvSpPr txBox="1"/>
          <p:nvPr>
            <p:custDataLst>
              <p:tags r:id="rId4"/>
            </p:custDataLst>
          </p:nvPr>
        </p:nvSpPr>
        <p:spPr>
          <a:xfrm>
            <a:off x="4691539" y="1669256"/>
            <a:ext cx="2873216" cy="299085"/>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事故发生后</a:t>
            </a:r>
            <a:r>
              <a:rPr lang="zh-CN" sz="9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半小时内积极响应联系客户了解事故情况</a:t>
            </a:r>
            <a:endParaRPr lang="zh-CN" sz="9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20" name="Shape28"/>
          <p:cNvSpPr txBox="1"/>
          <p:nvPr>
            <p:custDataLst>
              <p:tags r:id="rId5"/>
            </p:custDataLst>
          </p:nvPr>
        </p:nvSpPr>
        <p:spPr>
          <a:xfrm>
            <a:off x="4840310" y="2689774"/>
            <a:ext cx="2723362" cy="299085"/>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r">
              <a:lnSpc>
                <a:spcPct val="150000"/>
              </a:lnSpc>
            </a:pPr>
            <a:r>
              <a:rPr lang="zh-CN" altLang="en-US" sz="9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全流程专人指导收集资料及全流程理赔陪同处理</a:t>
            </a:r>
            <a:endParaRPr lang="zh-CN" altLang="en-US" sz="9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922" name="Shape30"/>
          <p:cNvSpPr txBox="1"/>
          <p:nvPr>
            <p:custDataLst>
              <p:tags r:id="rId6"/>
            </p:custDataLst>
          </p:nvPr>
        </p:nvSpPr>
        <p:spPr>
          <a:xfrm>
            <a:off x="4840310" y="3748791"/>
            <a:ext cx="2723362" cy="299085"/>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r">
              <a:lnSpc>
                <a:spcPct val="150000"/>
              </a:lnSpc>
            </a:pPr>
            <a:r>
              <a:rPr lang="zh-CN" altLang="id-ID" sz="9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针对行业特殊性，提供安全风险提示</a:t>
            </a:r>
            <a:endParaRPr lang="zh-CN" altLang="id-ID" sz="90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3" name="Shape19"/>
          <p:cNvSpPr txBox="1"/>
          <p:nvPr>
            <p:custDataLst>
              <p:tags r:id="rId7"/>
            </p:custDataLst>
          </p:nvPr>
        </p:nvSpPr>
        <p:spPr>
          <a:xfrm>
            <a:off x="1564005" y="1252855"/>
            <a:ext cx="2891155" cy="368300"/>
          </a:xfrm>
          <a:prstGeom prst="rect">
            <a:avLst/>
          </a:prstGeom>
          <a:noFill/>
        </p:spPr>
        <p:txBody>
          <a:bodyPr wrap="square" rtlCol="0">
            <a:spAutoFit/>
          </a:bodyPr>
          <a:p>
            <a:r>
              <a:rPr lang="zh-CN" altLang="en-US"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报案电话：95393</a:t>
            </a:r>
            <a:endParaRPr lang="zh-CN" altLang="en-US"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4" name="Shape21"/>
          <p:cNvSpPr txBox="1"/>
          <p:nvPr>
            <p:custDataLst>
              <p:tags r:id="rId8"/>
            </p:custDataLst>
          </p:nvPr>
        </p:nvSpPr>
        <p:spPr>
          <a:xfrm>
            <a:off x="1564262" y="2277245"/>
            <a:ext cx="1926666" cy="368300"/>
          </a:xfrm>
          <a:prstGeom prst="rect">
            <a:avLst/>
          </a:prstGeom>
          <a:noFill/>
        </p:spPr>
        <p:txBody>
          <a:bodyPr wrap="square" rtlCol="0">
            <a:spAutoFit/>
          </a:bodyPr>
          <a:p>
            <a:r>
              <a:rPr lang="zh-CN" altLang="en-US"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提供理赔资料</a:t>
            </a:r>
            <a:endParaRPr lang="zh-CN" altLang="en-US"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5" name="Shape23"/>
          <p:cNvSpPr txBox="1"/>
          <p:nvPr>
            <p:custDataLst>
              <p:tags r:id="rId9"/>
            </p:custDataLst>
          </p:nvPr>
        </p:nvSpPr>
        <p:spPr>
          <a:xfrm>
            <a:off x="1564262" y="3397168"/>
            <a:ext cx="1926666" cy="368300"/>
          </a:xfrm>
          <a:prstGeom prst="rect">
            <a:avLst/>
          </a:prstGeom>
          <a:noFill/>
        </p:spPr>
        <p:txBody>
          <a:bodyPr wrap="square" rtlCol="0">
            <a:spAutoFit/>
          </a:bodyPr>
          <a:p>
            <a:r>
              <a:rPr lang="zh-CN" altLang="en-US"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事故后现场查勘</a:t>
            </a:r>
            <a:endParaRPr lang="zh-CN" altLang="en-US"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6" name="Shape25"/>
          <p:cNvSpPr txBox="1"/>
          <p:nvPr>
            <p:custDataLst>
              <p:tags r:id="rId10"/>
            </p:custDataLst>
          </p:nvPr>
        </p:nvSpPr>
        <p:spPr>
          <a:xfrm>
            <a:off x="5751579" y="1392494"/>
            <a:ext cx="1926666" cy="368300"/>
          </a:xfrm>
          <a:prstGeom prst="rect">
            <a:avLst/>
          </a:prstGeom>
          <a:noFill/>
        </p:spPr>
        <p:txBody>
          <a:bodyPr wrap="square" rtlCol="0">
            <a:spAutoFit/>
          </a:bodyPr>
          <a:p>
            <a:pPr algn="r"/>
            <a:r>
              <a:rPr lang="zh-CN" altLang="en-US"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理赔服务（</a:t>
            </a:r>
            <a:r>
              <a:rPr lang="en-US" altLang="zh-CN"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1</a:t>
            </a:r>
            <a:r>
              <a:rPr lang="zh-CN" altLang="en-US"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a:t>
            </a:r>
            <a:endParaRPr lang="zh-CN" altLang="en-US"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7" name="Shape27"/>
          <p:cNvSpPr txBox="1"/>
          <p:nvPr>
            <p:custDataLst>
              <p:tags r:id="rId11"/>
            </p:custDataLst>
          </p:nvPr>
        </p:nvSpPr>
        <p:spPr>
          <a:xfrm>
            <a:off x="5751579" y="2385195"/>
            <a:ext cx="1926666" cy="368300"/>
          </a:xfrm>
          <a:prstGeom prst="rect">
            <a:avLst/>
          </a:prstGeom>
          <a:noFill/>
        </p:spPr>
        <p:txBody>
          <a:bodyPr wrap="square" rtlCol="0">
            <a:spAutoFit/>
          </a:bodyPr>
          <a:p>
            <a:pPr algn="r"/>
            <a:r>
              <a:rPr lang="zh-CN" altLang="en-US"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理赔服务（</a:t>
            </a:r>
            <a:r>
              <a:rPr lang="en-US" altLang="zh-CN"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2</a:t>
            </a:r>
            <a:r>
              <a:rPr lang="zh-CN" altLang="en-US"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a:t>
            </a:r>
            <a:endParaRPr lang="zh-CN" altLang="en-US"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8" name="Shape29"/>
          <p:cNvSpPr txBox="1"/>
          <p:nvPr>
            <p:custDataLst>
              <p:tags r:id="rId12"/>
            </p:custDataLst>
          </p:nvPr>
        </p:nvSpPr>
        <p:spPr>
          <a:xfrm>
            <a:off x="5751579" y="3435268"/>
            <a:ext cx="1926666" cy="368300"/>
          </a:xfrm>
          <a:prstGeom prst="rect">
            <a:avLst/>
          </a:prstGeom>
          <a:noFill/>
        </p:spPr>
        <p:txBody>
          <a:bodyPr wrap="square" rtlCol="0">
            <a:spAutoFit/>
          </a:bodyPr>
          <a:p>
            <a:pPr algn="r"/>
            <a:r>
              <a:rPr lang="zh-CN" altLang="en-US"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理赔服务（</a:t>
            </a:r>
            <a:r>
              <a:rPr lang="en-US" altLang="zh-CN"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3</a:t>
            </a:r>
            <a:r>
              <a:rPr lang="zh-CN" altLang="en-US" b="1">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a:t>
            </a:r>
            <a:endParaRPr lang="zh-CN" altLang="en-US" b="1"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Tree>
  </p:cSld>
  <p:clrMapOvr>
    <a:masterClrMapping/>
  </p:clrMapOvr>
  <p:timing>
    <p:tnLst>
      <p:par>
        <p:cTn id="1" dur="indefinite" restart="never" nodeType="tmRoot"/>
      </p:par>
    </p:tnLst>
    <p:bldLst>
      <p:bldP spid="1048899" grpId="0" bldLvl="0" animBg="1"/>
      <p:bldP spid="1048900" grpId="0" bldLvl="0" animBg="1"/>
      <p:bldP spid="1048901" grpId="0" bldLvl="0" animBg="1"/>
      <p:bldP spid="1048902" grpId="0" bldLvl="0" animBg="1"/>
      <p:bldP spid="1048903" grpId="0" bldLvl="0" animBg="1"/>
      <p:bldP spid="1048904" grpId="0" bldLvl="0" animBg="1"/>
      <p:bldP spid="1048905" grpId="0" bldLvl="0" animBg="1"/>
      <p:bldP spid="1048906" grpId="0" bldLvl="0" animBg="1"/>
      <p:bldP spid="1048907" grpId="0" bldLvl="0" animBg="1"/>
      <p:bldP spid="1048908" grpId="0" bldLvl="0" animBg="1"/>
      <p:bldP spid="1048909" grpId="0" bldLvl="0" animBg="1"/>
      <p:bldP spid="1048910" grpId="0" bldLvl="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76" name="Shape1"/>
          <p:cNvSpPr/>
          <p:nvPr/>
        </p:nvSpPr>
        <p:spPr>
          <a:xfrm rot="17882113" flipH="1">
            <a:off x="-1914221" y="661306"/>
            <a:ext cx="5348278" cy="3704140"/>
          </a:xfrm>
          <a:custGeom>
            <a:avLst/>
            <a:gdLst>
              <a:gd name="connsiteX0" fmla="*/ 1083810 w 7131037"/>
              <a:gd name="connsiteY0" fmla="*/ 0 h 4938853"/>
              <a:gd name="connsiteX1" fmla="*/ 0 w 7131037"/>
              <a:gd name="connsiteY1" fmla="*/ 2035332 h 4938853"/>
              <a:gd name="connsiteX2" fmla="*/ 100465 w 7131037"/>
              <a:gd name="connsiteY2" fmla="*/ 2136288 h 4938853"/>
              <a:gd name="connsiteX3" fmla="*/ 654764 w 7131037"/>
              <a:gd name="connsiteY3" fmla="*/ 2506857 h 4938853"/>
              <a:gd name="connsiteX4" fmla="*/ 3360401 w 7131037"/>
              <a:gd name="connsiteY4" fmla="*/ 2563592 h 4938853"/>
              <a:gd name="connsiteX5" fmla="*/ 5283416 w 7131037"/>
              <a:gd name="connsiteY5" fmla="*/ 4738430 h 4938853"/>
              <a:gd name="connsiteX6" fmla="*/ 6032094 w 7131037"/>
              <a:gd name="connsiteY6" fmla="*/ 4913222 h 4938853"/>
              <a:gd name="connsiteX7" fmla="*/ 6215824 w 7131037"/>
              <a:gd name="connsiteY7" fmla="*/ 4938853 h 4938853"/>
              <a:gd name="connsiteX8" fmla="*/ 7131037 w 7131037"/>
              <a:gd name="connsiteY8" fmla="*/ 3220137 h 4938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1037" h="4938853">
                <a:moveTo>
                  <a:pt x="1083810" y="0"/>
                </a:moveTo>
                <a:lnTo>
                  <a:pt x="0" y="2035332"/>
                </a:lnTo>
                <a:lnTo>
                  <a:pt x="100465" y="2136288"/>
                </a:lnTo>
                <a:cubicBezTo>
                  <a:pt x="261170" y="2287443"/>
                  <a:pt x="444574" y="2417973"/>
                  <a:pt x="654764" y="2506857"/>
                </a:cubicBezTo>
                <a:cubicBezTo>
                  <a:pt x="1495524" y="2862396"/>
                  <a:pt x="2434671" y="2117278"/>
                  <a:pt x="3360401" y="2563592"/>
                </a:cubicBezTo>
                <a:cubicBezTo>
                  <a:pt x="4286132" y="3009907"/>
                  <a:pt x="4120663" y="4356415"/>
                  <a:pt x="5283416" y="4738430"/>
                </a:cubicBezTo>
                <a:cubicBezTo>
                  <a:pt x="5501433" y="4810058"/>
                  <a:pt x="5757183" y="4869053"/>
                  <a:pt x="6032094" y="4913222"/>
                </a:cubicBezTo>
                <a:lnTo>
                  <a:pt x="6215824" y="4938853"/>
                </a:lnTo>
                <a:lnTo>
                  <a:pt x="7131037" y="322013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77" name="Shape2"/>
          <p:cNvSpPr/>
          <p:nvPr/>
        </p:nvSpPr>
        <p:spPr>
          <a:xfrm>
            <a:off x="2211422" y="1591535"/>
            <a:ext cx="1960433" cy="1960431"/>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a:latin typeface="汉仪旗黑X1-55W" panose="00020600040101010101" pitchFamily="18" charset="-122"/>
              <a:ea typeface="汉仪旗黑X1-55W" panose="00020600040101010101" pitchFamily="18" charset="-122"/>
              <a:cs typeface="汉仪润圆-65简" panose="00020600040101010101" pitchFamily="18" charset="-122"/>
              <a:sym typeface="汉仪旗黑X1-55W" panose="00020600040101010101" pitchFamily="18" charset="-122"/>
            </a:endParaRPr>
          </a:p>
        </p:txBody>
      </p:sp>
      <p:sp>
        <p:nvSpPr>
          <p:cNvPr id="1048778" name="Shape3"/>
          <p:cNvSpPr/>
          <p:nvPr/>
        </p:nvSpPr>
        <p:spPr>
          <a:xfrm>
            <a:off x="2357732" y="1759300"/>
            <a:ext cx="1667813" cy="1667813"/>
          </a:xfrm>
          <a:prstGeom prst="ellipse">
            <a:avLst/>
          </a:prstGeom>
          <a:solidFill>
            <a:schemeClr val="accent1"/>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90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779" name="Shape4"/>
          <p:cNvSpPr txBox="1"/>
          <p:nvPr/>
        </p:nvSpPr>
        <p:spPr>
          <a:xfrm>
            <a:off x="2715010" y="2190875"/>
            <a:ext cx="953255" cy="783590"/>
          </a:xfrm>
          <a:prstGeom prst="rect">
            <a:avLst/>
          </a:prstGeom>
          <a:noFill/>
        </p:spPr>
        <p:txBody>
          <a:bodyPr wrap="square" rtlCol="0">
            <a:spAutoFit/>
          </a:bodyPr>
          <a:lstStyle/>
          <a:p>
            <a:pPr algn="ctr"/>
            <a:r>
              <a:rPr lang="en-US" altLang="zh-CN" sz="4500" dirty="0">
                <a:solidFill>
                  <a:schemeClr val="bg1"/>
                </a:solidFill>
                <a:latin typeface="汉仪旗黑X1-95W" panose="00020600040101010101" pitchFamily="18" charset="-122"/>
                <a:ea typeface="汉仪旗黑X1-95W" panose="00020600040101010101" pitchFamily="18" charset="-122"/>
                <a:sym typeface="汉仪旗黑X1-55W" panose="00020600040101010101" pitchFamily="18" charset="-122"/>
              </a:rPr>
              <a:t>05</a:t>
            </a:r>
            <a:endParaRPr lang="zh-CN" altLang="en-US" sz="4500" dirty="0">
              <a:solidFill>
                <a:schemeClr val="bg1"/>
              </a:solidFill>
              <a:latin typeface="汉仪旗黑X1-95W" panose="00020600040101010101" pitchFamily="18" charset="-122"/>
              <a:ea typeface="汉仪旗黑X1-95W" panose="00020600040101010101" pitchFamily="18" charset="-122"/>
              <a:sym typeface="汉仪旗黑X1-55W" panose="00020600040101010101" pitchFamily="18" charset="-122"/>
            </a:endParaRPr>
          </a:p>
        </p:txBody>
      </p:sp>
      <p:sp>
        <p:nvSpPr>
          <p:cNvPr id="1048780" name="Shape5"/>
          <p:cNvSpPr txBox="1"/>
          <p:nvPr/>
        </p:nvSpPr>
        <p:spPr>
          <a:xfrm>
            <a:off x="4622165" y="2235200"/>
            <a:ext cx="2560955" cy="829945"/>
          </a:xfrm>
          <a:prstGeom prst="rect">
            <a:avLst/>
          </a:prstGeom>
          <a:noFill/>
        </p:spPr>
        <p:txBody>
          <a:bodyPr wrap="square" rtlCol="0">
            <a:spAutoFit/>
            <a:scene3d>
              <a:camera prst="orthographicFront"/>
              <a:lightRig rig="threePt" dir="t"/>
            </a:scene3d>
            <a:sp3d contourW="12700"/>
          </a:bodyPr>
          <a:lstStyle/>
          <a:p>
            <a:r>
              <a:rPr lang="zh-CN" altLang="en-US" sz="2400" b="1">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rPr>
              <a:t>拓展模式</a:t>
            </a:r>
            <a:endParaRPr lang="zh-CN" altLang="en-US" sz="2400" b="1">
              <a:solidFill>
                <a:schemeClr val="tx1">
                  <a:lumMod val="75000"/>
                  <a:lumOff val="25000"/>
                </a:schemeClr>
              </a:solidFill>
              <a:latin typeface="汉仪旗黑X1-55W" panose="00020600040101010101" pitchFamily="18" charset="-122"/>
              <a:ea typeface="汉仪旗黑X1-55W" panose="00020600040101010101" pitchFamily="18" charset="-122"/>
              <a:cs typeface="阿里巴巴普惠体 M" panose="00020600040101010101" pitchFamily="18" charset="-122"/>
              <a:sym typeface="汉仪旗黑X1-55W" panose="00020600040101010101" pitchFamily="18" charset="-122"/>
            </a:endParaRPr>
          </a:p>
          <a:p>
            <a:endParaRPr lang="zh-CN" altLang="en-US" sz="2400" b="1" dirty="0">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781" name="Shape6"/>
          <p:cNvSpPr/>
          <p:nvPr/>
        </p:nvSpPr>
        <p:spPr>
          <a:xfrm>
            <a:off x="4638305" y="2655275"/>
            <a:ext cx="2700569" cy="575945"/>
          </a:xfrm>
          <a:prstGeom prst="rect">
            <a:avLst/>
          </a:prstGeom>
        </p:spPr>
        <p:txBody>
          <a:bodyPr wrap="square">
            <a:spAutoFit/>
          </a:bodyPr>
          <a:lstStyle/>
          <a:p>
            <a:pPr>
              <a:lnSpc>
                <a:spcPct val="150000"/>
              </a:lnSpc>
            </a:pPr>
            <a:r>
              <a:rPr lang="zh-CN" altLang="en-US" sz="1050"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rPr>
              <a:t>对接渠道资源方式</a:t>
            </a:r>
            <a:endParaRPr lang="zh-CN" altLang="en-US" sz="1050"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汉仪旗黑X1-55W" panose="00020600040101010101" pitchFamily="18" charset="-122"/>
            </a:endParaRPr>
          </a:p>
          <a:p>
            <a:pPr>
              <a:lnSpc>
                <a:spcPct val="150000"/>
              </a:lnSpc>
            </a:pPr>
            <a:endParaRPr lang="zh-CN" altLang="en-US" sz="1050" i="1"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Tree>
  </p:cSld>
  <p:clrMapOvr>
    <a:masterClrMapping/>
  </p:clrMapOvr>
  <p:timing>
    <p:tnLst>
      <p:par>
        <p:cTn id="1" dur="indefinite" restart="never" nodeType="tmRoot"/>
      </p:par>
    </p:tnLst>
    <p:bldLst>
      <p:bldP spid="104878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Shape4"/>
          <p:cNvGrpSpPr/>
          <p:nvPr/>
        </p:nvGrpSpPr>
        <p:grpSpPr>
          <a:xfrm>
            <a:off x="299618" y="412859"/>
            <a:ext cx="824633" cy="144001"/>
            <a:chOff x="7922707" y="4563003"/>
            <a:chExt cx="824632" cy="144000"/>
          </a:xfrm>
        </p:grpSpPr>
        <p:sp>
          <p:nvSpPr>
            <p:cNvPr id="1048837"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38"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39"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57"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58"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840" name="Shape5"/>
          <p:cNvSpPr txBox="1"/>
          <p:nvPr/>
        </p:nvSpPr>
        <p:spPr>
          <a:xfrm>
            <a:off x="1150409" y="346360"/>
            <a:ext cx="1652954"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渠道资源</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sp>
        <p:nvSpPr>
          <p:cNvPr id="1048841" name="Shape6"/>
          <p:cNvSpPr/>
          <p:nvPr/>
        </p:nvSpPr>
        <p:spPr>
          <a:xfrm>
            <a:off x="1087345" y="1562840"/>
            <a:ext cx="2172218" cy="1087248"/>
          </a:xfrm>
          <a:custGeom>
            <a:avLst/>
            <a:gdLst>
              <a:gd name="connsiteX0" fmla="*/ 1411502 w 2823004"/>
              <a:gd name="connsiteY0" fmla="*/ 0 h 1412983"/>
              <a:gd name="connsiteX1" fmla="*/ 2823004 w 2823004"/>
              <a:gd name="connsiteY1" fmla="*/ 1411502 h 1412983"/>
              <a:gd name="connsiteX2" fmla="*/ 2822929 w 2823004"/>
              <a:gd name="connsiteY2" fmla="*/ 1412983 h 1412983"/>
              <a:gd name="connsiteX3" fmla="*/ 75 w 2823004"/>
              <a:gd name="connsiteY3" fmla="*/ 1412983 h 1412983"/>
              <a:gd name="connsiteX4" fmla="*/ 0 w 2823004"/>
              <a:gd name="connsiteY4" fmla="*/ 1411502 h 1412983"/>
              <a:gd name="connsiteX5" fmla="*/ 1411502 w 2823004"/>
              <a:gd name="connsiteY5" fmla="*/ 0 h 14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004" h="1412983">
                <a:moveTo>
                  <a:pt x="1411502" y="0"/>
                </a:moveTo>
                <a:cubicBezTo>
                  <a:pt x="2191053" y="0"/>
                  <a:pt x="2823004" y="631951"/>
                  <a:pt x="2823004" y="1411502"/>
                </a:cubicBezTo>
                <a:lnTo>
                  <a:pt x="2822929" y="1412983"/>
                </a:lnTo>
                <a:lnTo>
                  <a:pt x="75" y="1412983"/>
                </a:lnTo>
                <a:lnTo>
                  <a:pt x="0" y="1411502"/>
                </a:lnTo>
                <a:cubicBezTo>
                  <a:pt x="0" y="631951"/>
                  <a:pt x="631951" y="0"/>
                  <a:pt x="141150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42" name="Shape7"/>
          <p:cNvSpPr/>
          <p:nvPr/>
        </p:nvSpPr>
        <p:spPr>
          <a:xfrm>
            <a:off x="5917362" y="1550597"/>
            <a:ext cx="2172218" cy="1087248"/>
          </a:xfrm>
          <a:custGeom>
            <a:avLst/>
            <a:gdLst>
              <a:gd name="connsiteX0" fmla="*/ 1411502 w 2823004"/>
              <a:gd name="connsiteY0" fmla="*/ 0 h 1412983"/>
              <a:gd name="connsiteX1" fmla="*/ 2823004 w 2823004"/>
              <a:gd name="connsiteY1" fmla="*/ 1411502 h 1412983"/>
              <a:gd name="connsiteX2" fmla="*/ 2822929 w 2823004"/>
              <a:gd name="connsiteY2" fmla="*/ 1412983 h 1412983"/>
              <a:gd name="connsiteX3" fmla="*/ 75 w 2823004"/>
              <a:gd name="connsiteY3" fmla="*/ 1412983 h 1412983"/>
              <a:gd name="connsiteX4" fmla="*/ 0 w 2823004"/>
              <a:gd name="connsiteY4" fmla="*/ 1411502 h 1412983"/>
              <a:gd name="connsiteX5" fmla="*/ 1411502 w 2823004"/>
              <a:gd name="connsiteY5" fmla="*/ 0 h 14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004" h="1412983">
                <a:moveTo>
                  <a:pt x="1411502" y="0"/>
                </a:moveTo>
                <a:cubicBezTo>
                  <a:pt x="2191053" y="0"/>
                  <a:pt x="2823004" y="631951"/>
                  <a:pt x="2823004" y="1411502"/>
                </a:cubicBezTo>
                <a:lnTo>
                  <a:pt x="2822929" y="1412983"/>
                </a:lnTo>
                <a:lnTo>
                  <a:pt x="75" y="1412983"/>
                </a:lnTo>
                <a:lnTo>
                  <a:pt x="0" y="1411502"/>
                </a:lnTo>
                <a:cubicBezTo>
                  <a:pt x="0" y="631951"/>
                  <a:pt x="631951" y="0"/>
                  <a:pt x="141150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43" name="Shape8"/>
          <p:cNvSpPr/>
          <p:nvPr/>
        </p:nvSpPr>
        <p:spPr>
          <a:xfrm flipV="1">
            <a:off x="3496231" y="2652300"/>
            <a:ext cx="2172218" cy="1087248"/>
          </a:xfrm>
          <a:custGeom>
            <a:avLst/>
            <a:gdLst>
              <a:gd name="connsiteX0" fmla="*/ 1411502 w 2823004"/>
              <a:gd name="connsiteY0" fmla="*/ 0 h 1412983"/>
              <a:gd name="connsiteX1" fmla="*/ 2823004 w 2823004"/>
              <a:gd name="connsiteY1" fmla="*/ 1411502 h 1412983"/>
              <a:gd name="connsiteX2" fmla="*/ 2822929 w 2823004"/>
              <a:gd name="connsiteY2" fmla="*/ 1412983 h 1412983"/>
              <a:gd name="connsiteX3" fmla="*/ 75 w 2823004"/>
              <a:gd name="connsiteY3" fmla="*/ 1412983 h 1412983"/>
              <a:gd name="connsiteX4" fmla="*/ 0 w 2823004"/>
              <a:gd name="connsiteY4" fmla="*/ 1411502 h 1412983"/>
              <a:gd name="connsiteX5" fmla="*/ 1411502 w 2823004"/>
              <a:gd name="connsiteY5" fmla="*/ 0 h 14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004" h="1412983">
                <a:moveTo>
                  <a:pt x="1411502" y="0"/>
                </a:moveTo>
                <a:cubicBezTo>
                  <a:pt x="2191053" y="0"/>
                  <a:pt x="2823004" y="631951"/>
                  <a:pt x="2823004" y="1411502"/>
                </a:cubicBezTo>
                <a:lnTo>
                  <a:pt x="2822929" y="1412983"/>
                </a:lnTo>
                <a:lnTo>
                  <a:pt x="75" y="1412983"/>
                </a:lnTo>
                <a:lnTo>
                  <a:pt x="0" y="1411502"/>
                </a:lnTo>
                <a:cubicBezTo>
                  <a:pt x="0" y="631951"/>
                  <a:pt x="631951" y="0"/>
                  <a:pt x="141150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45" name="Shape10"/>
          <p:cNvSpPr txBox="1"/>
          <p:nvPr/>
        </p:nvSpPr>
        <p:spPr>
          <a:xfrm>
            <a:off x="3759835" y="3125470"/>
            <a:ext cx="1517015" cy="275590"/>
          </a:xfrm>
          <a:prstGeom prst="rect">
            <a:avLst/>
          </a:prstGeom>
          <a:noFill/>
          <a:effectLst/>
        </p:spPr>
        <p:txBody>
          <a:bodyPr wrap="square" rtlCol="0">
            <a:spAutoFit/>
          </a:bodyPr>
          <a:lstStyle/>
          <a:p>
            <a:pPr lvl="0" algn="ctr"/>
            <a:r>
              <a:rPr lang="zh-CN" altLang="en-US"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液化气站点</a:t>
            </a:r>
            <a:r>
              <a:rPr lang="zh-CN" altLang="en-US"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找老板</a:t>
            </a:r>
            <a:endParaRPr lang="zh-CN" altLang="en-US"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46" name="Shape11"/>
          <p:cNvSpPr txBox="1"/>
          <p:nvPr/>
        </p:nvSpPr>
        <p:spPr>
          <a:xfrm>
            <a:off x="6015673" y="2304098"/>
            <a:ext cx="2087880" cy="275590"/>
          </a:xfrm>
          <a:prstGeom prst="rect">
            <a:avLst/>
          </a:prstGeom>
          <a:noFill/>
          <a:effectLst/>
        </p:spPr>
        <p:txBody>
          <a:bodyPr wrap="square" rtlCol="0">
            <a:spAutoFit/>
          </a:bodyPr>
          <a:lstStyle/>
          <a:p>
            <a:pPr lvl="0" algn="l"/>
            <a:r>
              <a:rPr lang="zh-CN" altLang="en-US"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各地燃气管理办公室找</a:t>
            </a:r>
            <a:r>
              <a:rPr lang="zh-CN" altLang="en-US"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主任</a:t>
            </a:r>
            <a:endParaRPr lang="zh-CN" altLang="en-US" sz="1200" dirty="0">
              <a:solidFill>
                <a:srgbClr val="FFFFFF"/>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nvGrpSpPr>
          <p:cNvPr id="71" name="Shape12"/>
          <p:cNvGrpSpPr/>
          <p:nvPr/>
        </p:nvGrpSpPr>
        <p:grpSpPr>
          <a:xfrm>
            <a:off x="4323611" y="2732424"/>
            <a:ext cx="517458" cy="393169"/>
            <a:chOff x="4268086" y="4221191"/>
            <a:chExt cx="509646" cy="387231"/>
          </a:xfrm>
          <a:solidFill>
            <a:schemeClr val="bg1"/>
          </a:solidFill>
        </p:grpSpPr>
        <p:sp>
          <p:nvSpPr>
            <p:cNvPr id="1048847" name="Shape12"/>
            <p:cNvSpPr>
              <a:spLocks noEditPoints="1"/>
            </p:cNvSpPr>
            <p:nvPr/>
          </p:nvSpPr>
          <p:spPr bwMode="auto">
            <a:xfrm>
              <a:off x="4268086" y="4273030"/>
              <a:ext cx="337890" cy="335392"/>
            </a:xfrm>
            <a:custGeom>
              <a:avLst/>
              <a:gdLst>
                <a:gd name="T0" fmla="*/ 229 w 229"/>
                <a:gd name="T1" fmla="*/ 128 h 227"/>
                <a:gd name="T2" fmla="*/ 229 w 229"/>
                <a:gd name="T3" fmla="*/ 98 h 227"/>
                <a:gd name="T4" fmla="*/ 206 w 229"/>
                <a:gd name="T5" fmla="*/ 93 h 227"/>
                <a:gd name="T6" fmla="*/ 200 w 229"/>
                <a:gd name="T7" fmla="*/ 76 h 227"/>
                <a:gd name="T8" fmla="*/ 216 w 229"/>
                <a:gd name="T9" fmla="*/ 58 h 227"/>
                <a:gd name="T10" fmla="*/ 198 w 229"/>
                <a:gd name="T11" fmla="*/ 34 h 227"/>
                <a:gd name="T12" fmla="*/ 176 w 229"/>
                <a:gd name="T13" fmla="*/ 44 h 227"/>
                <a:gd name="T14" fmla="*/ 161 w 229"/>
                <a:gd name="T15" fmla="*/ 33 h 227"/>
                <a:gd name="T16" fmla="*/ 164 w 229"/>
                <a:gd name="T17" fmla="*/ 9 h 227"/>
                <a:gd name="T18" fmla="*/ 135 w 229"/>
                <a:gd name="T19" fmla="*/ 0 h 227"/>
                <a:gd name="T20" fmla="*/ 123 w 229"/>
                <a:gd name="T21" fmla="*/ 20 h 227"/>
                <a:gd name="T22" fmla="*/ 114 w 229"/>
                <a:gd name="T23" fmla="*/ 20 h 227"/>
                <a:gd name="T24" fmla="*/ 105 w 229"/>
                <a:gd name="T25" fmla="*/ 20 h 227"/>
                <a:gd name="T26" fmla="*/ 93 w 229"/>
                <a:gd name="T27" fmla="*/ 0 h 227"/>
                <a:gd name="T28" fmla="*/ 65 w 229"/>
                <a:gd name="T29" fmla="*/ 9 h 227"/>
                <a:gd name="T30" fmla="*/ 67 w 229"/>
                <a:gd name="T31" fmla="*/ 33 h 227"/>
                <a:gd name="T32" fmla="*/ 52 w 229"/>
                <a:gd name="T33" fmla="*/ 44 h 227"/>
                <a:gd name="T34" fmla="*/ 30 w 229"/>
                <a:gd name="T35" fmla="*/ 34 h 227"/>
                <a:gd name="T36" fmla="*/ 13 w 229"/>
                <a:gd name="T37" fmla="*/ 58 h 227"/>
                <a:gd name="T38" fmla="*/ 29 w 229"/>
                <a:gd name="T39" fmla="*/ 76 h 227"/>
                <a:gd name="T40" fmla="*/ 23 w 229"/>
                <a:gd name="T41" fmla="*/ 94 h 227"/>
                <a:gd name="T42" fmla="*/ 0 w 229"/>
                <a:gd name="T43" fmla="*/ 98 h 227"/>
                <a:gd name="T44" fmla="*/ 0 w 229"/>
                <a:gd name="T45" fmla="*/ 128 h 227"/>
                <a:gd name="T46" fmla="*/ 23 w 229"/>
                <a:gd name="T47" fmla="*/ 133 h 227"/>
                <a:gd name="T48" fmla="*/ 29 w 229"/>
                <a:gd name="T49" fmla="*/ 151 h 227"/>
                <a:gd name="T50" fmla="*/ 13 w 229"/>
                <a:gd name="T51" fmla="*/ 169 h 227"/>
                <a:gd name="T52" fmla="*/ 31 w 229"/>
                <a:gd name="T53" fmla="*/ 193 h 227"/>
                <a:gd name="T54" fmla="*/ 52 w 229"/>
                <a:gd name="T55" fmla="*/ 183 h 227"/>
                <a:gd name="T56" fmla="*/ 67 w 229"/>
                <a:gd name="T57" fmla="*/ 194 h 227"/>
                <a:gd name="T58" fmla="*/ 65 w 229"/>
                <a:gd name="T59" fmla="*/ 218 h 227"/>
                <a:gd name="T60" fmla="*/ 93 w 229"/>
                <a:gd name="T61" fmla="*/ 227 h 227"/>
                <a:gd name="T62" fmla="*/ 105 w 229"/>
                <a:gd name="T63" fmla="*/ 206 h 227"/>
                <a:gd name="T64" fmla="*/ 114 w 229"/>
                <a:gd name="T65" fmla="*/ 207 h 227"/>
                <a:gd name="T66" fmla="*/ 124 w 229"/>
                <a:gd name="T67" fmla="*/ 206 h 227"/>
                <a:gd name="T68" fmla="*/ 135 w 229"/>
                <a:gd name="T69" fmla="*/ 227 h 227"/>
                <a:gd name="T70" fmla="*/ 164 w 229"/>
                <a:gd name="T71" fmla="*/ 217 h 227"/>
                <a:gd name="T72" fmla="*/ 161 w 229"/>
                <a:gd name="T73" fmla="*/ 194 h 227"/>
                <a:gd name="T74" fmla="*/ 176 w 229"/>
                <a:gd name="T75" fmla="*/ 183 h 227"/>
                <a:gd name="T76" fmla="*/ 198 w 229"/>
                <a:gd name="T77" fmla="*/ 193 h 227"/>
                <a:gd name="T78" fmla="*/ 216 w 229"/>
                <a:gd name="T79" fmla="*/ 168 h 227"/>
                <a:gd name="T80" fmla="*/ 200 w 229"/>
                <a:gd name="T81" fmla="*/ 151 h 227"/>
                <a:gd name="T82" fmla="*/ 206 w 229"/>
                <a:gd name="T83" fmla="*/ 133 h 227"/>
                <a:gd name="T84" fmla="*/ 229 w 229"/>
                <a:gd name="T85" fmla="*/ 128 h 227"/>
                <a:gd name="T86" fmla="*/ 114 w 229"/>
                <a:gd name="T87" fmla="*/ 180 h 227"/>
                <a:gd name="T88" fmla="*/ 47 w 229"/>
                <a:gd name="T89" fmla="*/ 113 h 227"/>
                <a:gd name="T90" fmla="*/ 114 w 229"/>
                <a:gd name="T91" fmla="*/ 46 h 227"/>
                <a:gd name="T92" fmla="*/ 181 w 229"/>
                <a:gd name="T93" fmla="*/ 113 h 227"/>
                <a:gd name="T94" fmla="*/ 114 w 229"/>
                <a:gd name="T95" fmla="*/ 18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9" h="227">
                  <a:moveTo>
                    <a:pt x="229" y="128"/>
                  </a:moveTo>
                  <a:cubicBezTo>
                    <a:pt x="229" y="98"/>
                    <a:pt x="229" y="98"/>
                    <a:pt x="229" y="98"/>
                  </a:cubicBezTo>
                  <a:cubicBezTo>
                    <a:pt x="206" y="93"/>
                    <a:pt x="206" y="93"/>
                    <a:pt x="206" y="93"/>
                  </a:cubicBezTo>
                  <a:cubicBezTo>
                    <a:pt x="204" y="87"/>
                    <a:pt x="202" y="81"/>
                    <a:pt x="200" y="76"/>
                  </a:cubicBezTo>
                  <a:cubicBezTo>
                    <a:pt x="216" y="58"/>
                    <a:pt x="216" y="58"/>
                    <a:pt x="216" y="58"/>
                  </a:cubicBezTo>
                  <a:cubicBezTo>
                    <a:pt x="198" y="34"/>
                    <a:pt x="198" y="34"/>
                    <a:pt x="198" y="34"/>
                  </a:cubicBezTo>
                  <a:cubicBezTo>
                    <a:pt x="176" y="44"/>
                    <a:pt x="176" y="44"/>
                    <a:pt x="176" y="44"/>
                  </a:cubicBezTo>
                  <a:cubicBezTo>
                    <a:pt x="172" y="39"/>
                    <a:pt x="167" y="36"/>
                    <a:pt x="161" y="33"/>
                  </a:cubicBezTo>
                  <a:cubicBezTo>
                    <a:pt x="164" y="9"/>
                    <a:pt x="164" y="9"/>
                    <a:pt x="164" y="9"/>
                  </a:cubicBezTo>
                  <a:cubicBezTo>
                    <a:pt x="135" y="0"/>
                    <a:pt x="135" y="0"/>
                    <a:pt x="135" y="0"/>
                  </a:cubicBezTo>
                  <a:cubicBezTo>
                    <a:pt x="123" y="20"/>
                    <a:pt x="123" y="20"/>
                    <a:pt x="123" y="20"/>
                  </a:cubicBezTo>
                  <a:cubicBezTo>
                    <a:pt x="120" y="20"/>
                    <a:pt x="117" y="20"/>
                    <a:pt x="114" y="20"/>
                  </a:cubicBezTo>
                  <a:cubicBezTo>
                    <a:pt x="111" y="20"/>
                    <a:pt x="108" y="20"/>
                    <a:pt x="105" y="20"/>
                  </a:cubicBezTo>
                  <a:cubicBezTo>
                    <a:pt x="93" y="0"/>
                    <a:pt x="93" y="0"/>
                    <a:pt x="93" y="0"/>
                  </a:cubicBezTo>
                  <a:cubicBezTo>
                    <a:pt x="65" y="9"/>
                    <a:pt x="65" y="9"/>
                    <a:pt x="65" y="9"/>
                  </a:cubicBezTo>
                  <a:cubicBezTo>
                    <a:pt x="67" y="33"/>
                    <a:pt x="67" y="33"/>
                    <a:pt x="67" y="33"/>
                  </a:cubicBezTo>
                  <a:cubicBezTo>
                    <a:pt x="62" y="36"/>
                    <a:pt x="57" y="39"/>
                    <a:pt x="52" y="44"/>
                  </a:cubicBezTo>
                  <a:cubicBezTo>
                    <a:pt x="30" y="34"/>
                    <a:pt x="30" y="34"/>
                    <a:pt x="30" y="34"/>
                  </a:cubicBezTo>
                  <a:cubicBezTo>
                    <a:pt x="13" y="58"/>
                    <a:pt x="13" y="58"/>
                    <a:pt x="13" y="58"/>
                  </a:cubicBezTo>
                  <a:cubicBezTo>
                    <a:pt x="29" y="76"/>
                    <a:pt x="29" y="76"/>
                    <a:pt x="29" y="76"/>
                  </a:cubicBezTo>
                  <a:cubicBezTo>
                    <a:pt x="26" y="81"/>
                    <a:pt x="24" y="87"/>
                    <a:pt x="23" y="94"/>
                  </a:cubicBezTo>
                  <a:cubicBezTo>
                    <a:pt x="0" y="98"/>
                    <a:pt x="0" y="98"/>
                    <a:pt x="0" y="98"/>
                  </a:cubicBezTo>
                  <a:cubicBezTo>
                    <a:pt x="0" y="128"/>
                    <a:pt x="0" y="128"/>
                    <a:pt x="0" y="128"/>
                  </a:cubicBezTo>
                  <a:cubicBezTo>
                    <a:pt x="23" y="133"/>
                    <a:pt x="23" y="133"/>
                    <a:pt x="23" y="133"/>
                  </a:cubicBezTo>
                  <a:cubicBezTo>
                    <a:pt x="24" y="139"/>
                    <a:pt x="26" y="145"/>
                    <a:pt x="29" y="151"/>
                  </a:cubicBezTo>
                  <a:cubicBezTo>
                    <a:pt x="13" y="169"/>
                    <a:pt x="13" y="169"/>
                    <a:pt x="13" y="169"/>
                  </a:cubicBezTo>
                  <a:cubicBezTo>
                    <a:pt x="31" y="193"/>
                    <a:pt x="31" y="193"/>
                    <a:pt x="31" y="193"/>
                  </a:cubicBezTo>
                  <a:cubicBezTo>
                    <a:pt x="52" y="183"/>
                    <a:pt x="52" y="183"/>
                    <a:pt x="52" y="183"/>
                  </a:cubicBezTo>
                  <a:cubicBezTo>
                    <a:pt x="57" y="187"/>
                    <a:pt x="62" y="191"/>
                    <a:pt x="67" y="194"/>
                  </a:cubicBezTo>
                  <a:cubicBezTo>
                    <a:pt x="65" y="218"/>
                    <a:pt x="65" y="218"/>
                    <a:pt x="65" y="218"/>
                  </a:cubicBezTo>
                  <a:cubicBezTo>
                    <a:pt x="93" y="227"/>
                    <a:pt x="93" y="227"/>
                    <a:pt x="93" y="227"/>
                  </a:cubicBezTo>
                  <a:cubicBezTo>
                    <a:pt x="105" y="206"/>
                    <a:pt x="105" y="206"/>
                    <a:pt x="105" y="206"/>
                  </a:cubicBezTo>
                  <a:cubicBezTo>
                    <a:pt x="108" y="207"/>
                    <a:pt x="111" y="207"/>
                    <a:pt x="114" y="207"/>
                  </a:cubicBezTo>
                  <a:cubicBezTo>
                    <a:pt x="117" y="207"/>
                    <a:pt x="121" y="207"/>
                    <a:pt x="124" y="206"/>
                  </a:cubicBezTo>
                  <a:cubicBezTo>
                    <a:pt x="135" y="227"/>
                    <a:pt x="135" y="227"/>
                    <a:pt x="135" y="227"/>
                  </a:cubicBezTo>
                  <a:cubicBezTo>
                    <a:pt x="164" y="217"/>
                    <a:pt x="164" y="217"/>
                    <a:pt x="164" y="217"/>
                  </a:cubicBezTo>
                  <a:cubicBezTo>
                    <a:pt x="161" y="194"/>
                    <a:pt x="161" y="194"/>
                    <a:pt x="161" y="194"/>
                  </a:cubicBezTo>
                  <a:cubicBezTo>
                    <a:pt x="167" y="191"/>
                    <a:pt x="172" y="187"/>
                    <a:pt x="176" y="183"/>
                  </a:cubicBezTo>
                  <a:cubicBezTo>
                    <a:pt x="198" y="193"/>
                    <a:pt x="198" y="193"/>
                    <a:pt x="198" y="193"/>
                  </a:cubicBezTo>
                  <a:cubicBezTo>
                    <a:pt x="216" y="168"/>
                    <a:pt x="216" y="168"/>
                    <a:pt x="216" y="168"/>
                  </a:cubicBezTo>
                  <a:cubicBezTo>
                    <a:pt x="200" y="151"/>
                    <a:pt x="200" y="151"/>
                    <a:pt x="200" y="151"/>
                  </a:cubicBezTo>
                  <a:cubicBezTo>
                    <a:pt x="202" y="145"/>
                    <a:pt x="204" y="139"/>
                    <a:pt x="206" y="133"/>
                  </a:cubicBezTo>
                  <a:lnTo>
                    <a:pt x="229" y="128"/>
                  </a:lnTo>
                  <a:close/>
                  <a:moveTo>
                    <a:pt x="114" y="180"/>
                  </a:moveTo>
                  <a:cubicBezTo>
                    <a:pt x="77" y="180"/>
                    <a:pt x="47" y="150"/>
                    <a:pt x="47" y="113"/>
                  </a:cubicBezTo>
                  <a:cubicBezTo>
                    <a:pt x="47" y="76"/>
                    <a:pt x="77" y="46"/>
                    <a:pt x="114" y="46"/>
                  </a:cubicBezTo>
                  <a:cubicBezTo>
                    <a:pt x="151" y="46"/>
                    <a:pt x="181" y="76"/>
                    <a:pt x="181" y="113"/>
                  </a:cubicBezTo>
                  <a:cubicBezTo>
                    <a:pt x="181" y="150"/>
                    <a:pt x="151" y="180"/>
                    <a:pt x="114" y="180"/>
                  </a:cubicBezTo>
                  <a:close/>
                </a:path>
              </a:pathLst>
            </a:custGeom>
            <a:grpFill/>
            <a:ln>
              <a:noFill/>
            </a:ln>
          </p:spPr>
          <p:txBody>
            <a:bodyPr vert="horz" wrap="square" lIns="68564" tIns="34281" rIns="68564" bIns="34281" numCol="1" anchor="t" anchorCtr="0" compatLnSpc="1"/>
            <a:lstStyle/>
            <a:p>
              <a:endParaRPr lang="zh-CN" altLang="en-US" sz="15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48" name="Shape12"/>
            <p:cNvSpPr>
              <a:spLocks noEditPoints="1"/>
            </p:cNvSpPr>
            <p:nvPr/>
          </p:nvSpPr>
          <p:spPr bwMode="auto">
            <a:xfrm>
              <a:off x="4577871" y="4221191"/>
              <a:ext cx="199861" cy="199861"/>
            </a:xfrm>
            <a:custGeom>
              <a:avLst/>
              <a:gdLst>
                <a:gd name="T0" fmla="*/ 135 w 135"/>
                <a:gd name="T1" fmla="*/ 76 h 135"/>
                <a:gd name="T2" fmla="*/ 135 w 135"/>
                <a:gd name="T3" fmla="*/ 58 h 135"/>
                <a:gd name="T4" fmla="*/ 122 w 135"/>
                <a:gd name="T5" fmla="*/ 55 h 135"/>
                <a:gd name="T6" fmla="*/ 118 w 135"/>
                <a:gd name="T7" fmla="*/ 45 h 135"/>
                <a:gd name="T8" fmla="*/ 128 w 135"/>
                <a:gd name="T9" fmla="*/ 34 h 135"/>
                <a:gd name="T10" fmla="*/ 117 w 135"/>
                <a:gd name="T11" fmla="*/ 20 h 135"/>
                <a:gd name="T12" fmla="*/ 104 w 135"/>
                <a:gd name="T13" fmla="*/ 26 h 135"/>
                <a:gd name="T14" fmla="*/ 96 w 135"/>
                <a:gd name="T15" fmla="*/ 19 h 135"/>
                <a:gd name="T16" fmla="*/ 97 w 135"/>
                <a:gd name="T17" fmla="*/ 5 h 135"/>
                <a:gd name="T18" fmla="*/ 80 w 135"/>
                <a:gd name="T19" fmla="*/ 0 h 135"/>
                <a:gd name="T20" fmla="*/ 73 w 135"/>
                <a:gd name="T21" fmla="*/ 12 h 135"/>
                <a:gd name="T22" fmla="*/ 67 w 135"/>
                <a:gd name="T23" fmla="*/ 12 h 135"/>
                <a:gd name="T24" fmla="*/ 62 w 135"/>
                <a:gd name="T25" fmla="*/ 12 h 135"/>
                <a:gd name="T26" fmla="*/ 55 w 135"/>
                <a:gd name="T27" fmla="*/ 0 h 135"/>
                <a:gd name="T28" fmla="*/ 38 w 135"/>
                <a:gd name="T29" fmla="*/ 5 h 135"/>
                <a:gd name="T30" fmla="*/ 39 w 135"/>
                <a:gd name="T31" fmla="*/ 19 h 135"/>
                <a:gd name="T32" fmla="*/ 30 w 135"/>
                <a:gd name="T33" fmla="*/ 26 h 135"/>
                <a:gd name="T34" fmla="*/ 18 w 135"/>
                <a:gd name="T35" fmla="*/ 20 h 135"/>
                <a:gd name="T36" fmla="*/ 7 w 135"/>
                <a:gd name="T37" fmla="*/ 34 h 135"/>
                <a:gd name="T38" fmla="*/ 17 w 135"/>
                <a:gd name="T39" fmla="*/ 45 h 135"/>
                <a:gd name="T40" fmla="*/ 13 w 135"/>
                <a:gd name="T41" fmla="*/ 55 h 135"/>
                <a:gd name="T42" fmla="*/ 0 w 135"/>
                <a:gd name="T43" fmla="*/ 58 h 135"/>
                <a:gd name="T44" fmla="*/ 0 w 135"/>
                <a:gd name="T45" fmla="*/ 76 h 135"/>
                <a:gd name="T46" fmla="*/ 13 w 135"/>
                <a:gd name="T47" fmla="*/ 79 h 135"/>
                <a:gd name="T48" fmla="*/ 17 w 135"/>
                <a:gd name="T49" fmla="*/ 90 h 135"/>
                <a:gd name="T50" fmla="*/ 7 w 135"/>
                <a:gd name="T51" fmla="*/ 100 h 135"/>
                <a:gd name="T52" fmla="*/ 18 w 135"/>
                <a:gd name="T53" fmla="*/ 114 h 135"/>
                <a:gd name="T54" fmla="*/ 31 w 135"/>
                <a:gd name="T55" fmla="*/ 109 h 135"/>
                <a:gd name="T56" fmla="*/ 39 w 135"/>
                <a:gd name="T57" fmla="*/ 115 h 135"/>
                <a:gd name="T58" fmla="*/ 38 w 135"/>
                <a:gd name="T59" fmla="*/ 129 h 135"/>
                <a:gd name="T60" fmla="*/ 55 w 135"/>
                <a:gd name="T61" fmla="*/ 135 h 135"/>
                <a:gd name="T62" fmla="*/ 62 w 135"/>
                <a:gd name="T63" fmla="*/ 122 h 135"/>
                <a:gd name="T64" fmla="*/ 68 w 135"/>
                <a:gd name="T65" fmla="*/ 123 h 135"/>
                <a:gd name="T66" fmla="*/ 73 w 135"/>
                <a:gd name="T67" fmla="*/ 122 h 135"/>
                <a:gd name="T68" fmla="*/ 80 w 135"/>
                <a:gd name="T69" fmla="*/ 135 h 135"/>
                <a:gd name="T70" fmla="*/ 97 w 135"/>
                <a:gd name="T71" fmla="*/ 129 h 135"/>
                <a:gd name="T72" fmla="*/ 96 w 135"/>
                <a:gd name="T73" fmla="*/ 115 h 135"/>
                <a:gd name="T74" fmla="*/ 104 w 135"/>
                <a:gd name="T75" fmla="*/ 109 h 135"/>
                <a:gd name="T76" fmla="*/ 117 w 135"/>
                <a:gd name="T77" fmla="*/ 114 h 135"/>
                <a:gd name="T78" fmla="*/ 128 w 135"/>
                <a:gd name="T79" fmla="*/ 100 h 135"/>
                <a:gd name="T80" fmla="*/ 118 w 135"/>
                <a:gd name="T81" fmla="*/ 89 h 135"/>
                <a:gd name="T82" fmla="*/ 122 w 135"/>
                <a:gd name="T83" fmla="*/ 79 h 135"/>
                <a:gd name="T84" fmla="*/ 135 w 135"/>
                <a:gd name="T85" fmla="*/ 76 h 135"/>
                <a:gd name="T86" fmla="*/ 67 w 135"/>
                <a:gd name="T87" fmla="*/ 107 h 135"/>
                <a:gd name="T88" fmla="*/ 28 w 135"/>
                <a:gd name="T89" fmla="*/ 67 h 135"/>
                <a:gd name="T90" fmla="*/ 67 w 135"/>
                <a:gd name="T91" fmla="*/ 27 h 135"/>
                <a:gd name="T92" fmla="*/ 107 w 135"/>
                <a:gd name="T93" fmla="*/ 67 h 135"/>
                <a:gd name="T94" fmla="*/ 67 w 135"/>
                <a:gd name="T95" fmla="*/ 10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5" h="135">
                  <a:moveTo>
                    <a:pt x="135" y="76"/>
                  </a:moveTo>
                  <a:cubicBezTo>
                    <a:pt x="135" y="58"/>
                    <a:pt x="135" y="58"/>
                    <a:pt x="135" y="58"/>
                  </a:cubicBezTo>
                  <a:cubicBezTo>
                    <a:pt x="122" y="55"/>
                    <a:pt x="122" y="55"/>
                    <a:pt x="122" y="55"/>
                  </a:cubicBezTo>
                  <a:cubicBezTo>
                    <a:pt x="121" y="52"/>
                    <a:pt x="120" y="48"/>
                    <a:pt x="118" y="45"/>
                  </a:cubicBezTo>
                  <a:cubicBezTo>
                    <a:pt x="128" y="34"/>
                    <a:pt x="128" y="34"/>
                    <a:pt x="128" y="34"/>
                  </a:cubicBezTo>
                  <a:cubicBezTo>
                    <a:pt x="117" y="20"/>
                    <a:pt x="117" y="20"/>
                    <a:pt x="117" y="20"/>
                  </a:cubicBezTo>
                  <a:cubicBezTo>
                    <a:pt x="104" y="26"/>
                    <a:pt x="104" y="26"/>
                    <a:pt x="104" y="26"/>
                  </a:cubicBezTo>
                  <a:cubicBezTo>
                    <a:pt x="102" y="23"/>
                    <a:pt x="99" y="21"/>
                    <a:pt x="96" y="19"/>
                  </a:cubicBezTo>
                  <a:cubicBezTo>
                    <a:pt x="97" y="5"/>
                    <a:pt x="97" y="5"/>
                    <a:pt x="97" y="5"/>
                  </a:cubicBezTo>
                  <a:cubicBezTo>
                    <a:pt x="80" y="0"/>
                    <a:pt x="80" y="0"/>
                    <a:pt x="80" y="0"/>
                  </a:cubicBezTo>
                  <a:cubicBezTo>
                    <a:pt x="73" y="12"/>
                    <a:pt x="73" y="12"/>
                    <a:pt x="73" y="12"/>
                  </a:cubicBezTo>
                  <a:cubicBezTo>
                    <a:pt x="71" y="12"/>
                    <a:pt x="69" y="12"/>
                    <a:pt x="67" y="12"/>
                  </a:cubicBezTo>
                  <a:cubicBezTo>
                    <a:pt x="66" y="12"/>
                    <a:pt x="64" y="12"/>
                    <a:pt x="62" y="12"/>
                  </a:cubicBezTo>
                  <a:cubicBezTo>
                    <a:pt x="55" y="0"/>
                    <a:pt x="55" y="0"/>
                    <a:pt x="55" y="0"/>
                  </a:cubicBezTo>
                  <a:cubicBezTo>
                    <a:pt x="38" y="5"/>
                    <a:pt x="38" y="5"/>
                    <a:pt x="38" y="5"/>
                  </a:cubicBezTo>
                  <a:cubicBezTo>
                    <a:pt x="39" y="19"/>
                    <a:pt x="39" y="19"/>
                    <a:pt x="39" y="19"/>
                  </a:cubicBezTo>
                  <a:cubicBezTo>
                    <a:pt x="36" y="21"/>
                    <a:pt x="33" y="23"/>
                    <a:pt x="30" y="26"/>
                  </a:cubicBezTo>
                  <a:cubicBezTo>
                    <a:pt x="18" y="20"/>
                    <a:pt x="18" y="20"/>
                    <a:pt x="18" y="20"/>
                  </a:cubicBezTo>
                  <a:cubicBezTo>
                    <a:pt x="7" y="34"/>
                    <a:pt x="7" y="34"/>
                    <a:pt x="7" y="34"/>
                  </a:cubicBezTo>
                  <a:cubicBezTo>
                    <a:pt x="17" y="45"/>
                    <a:pt x="17" y="45"/>
                    <a:pt x="17" y="45"/>
                  </a:cubicBezTo>
                  <a:cubicBezTo>
                    <a:pt x="15" y="48"/>
                    <a:pt x="14" y="52"/>
                    <a:pt x="13" y="55"/>
                  </a:cubicBezTo>
                  <a:cubicBezTo>
                    <a:pt x="0" y="58"/>
                    <a:pt x="0" y="58"/>
                    <a:pt x="0" y="58"/>
                  </a:cubicBezTo>
                  <a:cubicBezTo>
                    <a:pt x="0" y="76"/>
                    <a:pt x="0" y="76"/>
                    <a:pt x="0" y="76"/>
                  </a:cubicBezTo>
                  <a:cubicBezTo>
                    <a:pt x="13" y="79"/>
                    <a:pt x="13" y="79"/>
                    <a:pt x="13" y="79"/>
                  </a:cubicBezTo>
                  <a:cubicBezTo>
                    <a:pt x="14" y="83"/>
                    <a:pt x="15" y="86"/>
                    <a:pt x="17" y="90"/>
                  </a:cubicBezTo>
                  <a:cubicBezTo>
                    <a:pt x="7" y="100"/>
                    <a:pt x="7" y="100"/>
                    <a:pt x="7" y="100"/>
                  </a:cubicBezTo>
                  <a:cubicBezTo>
                    <a:pt x="18" y="114"/>
                    <a:pt x="18" y="114"/>
                    <a:pt x="18" y="114"/>
                  </a:cubicBezTo>
                  <a:cubicBezTo>
                    <a:pt x="31" y="109"/>
                    <a:pt x="31" y="109"/>
                    <a:pt x="31" y="109"/>
                  </a:cubicBezTo>
                  <a:cubicBezTo>
                    <a:pt x="33" y="111"/>
                    <a:pt x="36" y="113"/>
                    <a:pt x="39" y="115"/>
                  </a:cubicBezTo>
                  <a:cubicBezTo>
                    <a:pt x="38" y="129"/>
                    <a:pt x="38" y="129"/>
                    <a:pt x="38" y="129"/>
                  </a:cubicBezTo>
                  <a:cubicBezTo>
                    <a:pt x="55" y="135"/>
                    <a:pt x="55" y="135"/>
                    <a:pt x="55" y="135"/>
                  </a:cubicBezTo>
                  <a:cubicBezTo>
                    <a:pt x="62" y="122"/>
                    <a:pt x="62" y="122"/>
                    <a:pt x="62" y="122"/>
                  </a:cubicBezTo>
                  <a:cubicBezTo>
                    <a:pt x="64" y="123"/>
                    <a:pt x="66" y="123"/>
                    <a:pt x="68" y="123"/>
                  </a:cubicBezTo>
                  <a:cubicBezTo>
                    <a:pt x="69" y="123"/>
                    <a:pt x="71" y="123"/>
                    <a:pt x="73" y="122"/>
                  </a:cubicBezTo>
                  <a:cubicBezTo>
                    <a:pt x="80" y="135"/>
                    <a:pt x="80" y="135"/>
                    <a:pt x="80" y="135"/>
                  </a:cubicBezTo>
                  <a:cubicBezTo>
                    <a:pt x="97" y="129"/>
                    <a:pt x="97" y="129"/>
                    <a:pt x="97" y="129"/>
                  </a:cubicBezTo>
                  <a:cubicBezTo>
                    <a:pt x="96" y="115"/>
                    <a:pt x="96" y="115"/>
                    <a:pt x="96" y="115"/>
                  </a:cubicBezTo>
                  <a:cubicBezTo>
                    <a:pt x="99" y="113"/>
                    <a:pt x="102" y="111"/>
                    <a:pt x="104" y="109"/>
                  </a:cubicBezTo>
                  <a:cubicBezTo>
                    <a:pt x="117" y="114"/>
                    <a:pt x="117" y="114"/>
                    <a:pt x="117" y="114"/>
                  </a:cubicBezTo>
                  <a:cubicBezTo>
                    <a:pt x="128" y="100"/>
                    <a:pt x="128" y="100"/>
                    <a:pt x="128" y="100"/>
                  </a:cubicBezTo>
                  <a:cubicBezTo>
                    <a:pt x="118" y="89"/>
                    <a:pt x="118" y="89"/>
                    <a:pt x="118" y="89"/>
                  </a:cubicBezTo>
                  <a:cubicBezTo>
                    <a:pt x="120" y="86"/>
                    <a:pt x="121" y="83"/>
                    <a:pt x="122" y="79"/>
                  </a:cubicBezTo>
                  <a:lnTo>
                    <a:pt x="135" y="76"/>
                  </a:lnTo>
                  <a:close/>
                  <a:moveTo>
                    <a:pt x="67" y="107"/>
                  </a:moveTo>
                  <a:cubicBezTo>
                    <a:pt x="46" y="107"/>
                    <a:pt x="28" y="89"/>
                    <a:pt x="28" y="67"/>
                  </a:cubicBezTo>
                  <a:cubicBezTo>
                    <a:pt x="28" y="45"/>
                    <a:pt x="46" y="27"/>
                    <a:pt x="67" y="27"/>
                  </a:cubicBezTo>
                  <a:cubicBezTo>
                    <a:pt x="89" y="27"/>
                    <a:pt x="107" y="45"/>
                    <a:pt x="107" y="67"/>
                  </a:cubicBezTo>
                  <a:cubicBezTo>
                    <a:pt x="107" y="89"/>
                    <a:pt x="89" y="107"/>
                    <a:pt x="67" y="107"/>
                  </a:cubicBezTo>
                  <a:close/>
                </a:path>
              </a:pathLst>
            </a:custGeom>
            <a:grpFill/>
            <a:ln>
              <a:noFill/>
            </a:ln>
          </p:spPr>
          <p:txBody>
            <a:bodyPr vert="horz" wrap="square" lIns="68564" tIns="34281" rIns="68564" bIns="34281" numCol="1" anchor="t" anchorCtr="0" compatLnSpc="1"/>
            <a:lstStyle/>
            <a:p>
              <a:endParaRPr lang="zh-CN" altLang="en-US" sz="15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grpSp>
        <p:nvGrpSpPr>
          <p:cNvPr id="72" name="Shape13"/>
          <p:cNvGrpSpPr/>
          <p:nvPr/>
        </p:nvGrpSpPr>
        <p:grpSpPr>
          <a:xfrm>
            <a:off x="1959424" y="1750761"/>
            <a:ext cx="387062" cy="370179"/>
            <a:chOff x="1004888" y="993775"/>
            <a:chExt cx="2438400" cy="2332038"/>
          </a:xfrm>
          <a:solidFill>
            <a:schemeClr val="bg1"/>
          </a:solidFill>
        </p:grpSpPr>
        <p:sp>
          <p:nvSpPr>
            <p:cNvPr id="1048849" name="Shape13"/>
            <p:cNvSpPr/>
            <p:nvPr/>
          </p:nvSpPr>
          <p:spPr bwMode="auto">
            <a:xfrm>
              <a:off x="1898651" y="2670175"/>
              <a:ext cx="655638" cy="655638"/>
            </a:xfrm>
            <a:custGeom>
              <a:avLst/>
              <a:gdLst>
                <a:gd name="T0" fmla="*/ 206 w 413"/>
                <a:gd name="T1" fmla="*/ 413 h 413"/>
                <a:gd name="T2" fmla="*/ 0 w 413"/>
                <a:gd name="T3" fmla="*/ 0 h 413"/>
                <a:gd name="T4" fmla="*/ 413 w 413"/>
                <a:gd name="T5" fmla="*/ 0 h 413"/>
                <a:gd name="T6" fmla="*/ 206 w 413"/>
                <a:gd name="T7" fmla="*/ 413 h 413"/>
              </a:gdLst>
              <a:ahLst/>
              <a:cxnLst>
                <a:cxn ang="0">
                  <a:pos x="T0" y="T1"/>
                </a:cxn>
                <a:cxn ang="0">
                  <a:pos x="T2" y="T3"/>
                </a:cxn>
                <a:cxn ang="0">
                  <a:pos x="T4" y="T5"/>
                </a:cxn>
                <a:cxn ang="0">
                  <a:pos x="T6" y="T7"/>
                </a:cxn>
              </a:cxnLst>
              <a:rect l="0" t="0" r="r" b="b"/>
              <a:pathLst>
                <a:path w="413" h="413">
                  <a:moveTo>
                    <a:pt x="206" y="413"/>
                  </a:moveTo>
                  <a:lnTo>
                    <a:pt x="0" y="0"/>
                  </a:lnTo>
                  <a:lnTo>
                    <a:pt x="413" y="0"/>
                  </a:lnTo>
                  <a:lnTo>
                    <a:pt x="206" y="413"/>
                  </a:lnTo>
                  <a:close/>
                </a:path>
              </a:pathLst>
            </a:custGeom>
            <a:grpFill/>
            <a:ln>
              <a:noFill/>
            </a:ln>
          </p:spPr>
          <p:txBody>
            <a:bodyPr vert="horz" wrap="square" lIns="68564" tIns="34281" rIns="68564" bIns="34281" numCol="1" anchor="t" anchorCtr="0" compatLnSpc="1"/>
            <a:lstStyle/>
            <a:p>
              <a:endParaRPr lang="zh-CN" altLang="en-US" sz="15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50" name="Shape13"/>
            <p:cNvSpPr>
              <a:spLocks noChangeArrowheads="1"/>
            </p:cNvSpPr>
            <p:nvPr/>
          </p:nvSpPr>
          <p:spPr bwMode="auto">
            <a:xfrm>
              <a:off x="1004888" y="993775"/>
              <a:ext cx="2438400" cy="1774825"/>
            </a:xfrm>
            <a:custGeom>
              <a:avLst/>
              <a:gdLst>
                <a:gd name="connsiteX0" fmla="*/ 290196 w 2438400"/>
                <a:gd name="connsiteY0" fmla="*/ 0 h 1774825"/>
                <a:gd name="connsiteX1" fmla="*/ 2151973 w 2438400"/>
                <a:gd name="connsiteY1" fmla="*/ 0 h 1774825"/>
                <a:gd name="connsiteX2" fmla="*/ 2438400 w 2438400"/>
                <a:gd name="connsiteY2" fmla="*/ 286384 h 1774825"/>
                <a:gd name="connsiteX3" fmla="*/ 2438400 w 2438400"/>
                <a:gd name="connsiteY3" fmla="*/ 1484673 h 1774825"/>
                <a:gd name="connsiteX4" fmla="*/ 2151973 w 2438400"/>
                <a:gd name="connsiteY4" fmla="*/ 1774825 h 1774825"/>
                <a:gd name="connsiteX5" fmla="*/ 290196 w 2438400"/>
                <a:gd name="connsiteY5" fmla="*/ 1774825 h 1774825"/>
                <a:gd name="connsiteX6" fmla="*/ 0 w 2438400"/>
                <a:gd name="connsiteY6" fmla="*/ 1484673 h 1774825"/>
                <a:gd name="connsiteX7" fmla="*/ 0 w 2438400"/>
                <a:gd name="connsiteY7" fmla="*/ 286384 h 1774825"/>
                <a:gd name="connsiteX8" fmla="*/ 290196 w 2438400"/>
                <a:gd name="connsiteY8" fmla="*/ 0 h 1774825"/>
                <a:gd name="connsiteX9" fmla="*/ 471488 w 2438400"/>
                <a:gd name="connsiteY9" fmla="*/ 425450 h 1774825"/>
                <a:gd name="connsiteX10" fmla="*/ 471488 w 2438400"/>
                <a:gd name="connsiteY10" fmla="*/ 598488 h 1774825"/>
                <a:gd name="connsiteX11" fmla="*/ 1971676 w 2438400"/>
                <a:gd name="connsiteY11" fmla="*/ 598488 h 1774825"/>
                <a:gd name="connsiteX12" fmla="*/ 1971676 w 2438400"/>
                <a:gd name="connsiteY12" fmla="*/ 425450 h 1774825"/>
                <a:gd name="connsiteX13" fmla="*/ 471488 w 2438400"/>
                <a:gd name="connsiteY13" fmla="*/ 425450 h 1774825"/>
                <a:gd name="connsiteX14" fmla="*/ 471488 w 2438400"/>
                <a:gd name="connsiteY14" fmla="*/ 801688 h 1774825"/>
                <a:gd name="connsiteX15" fmla="*/ 471488 w 2438400"/>
                <a:gd name="connsiteY15" fmla="*/ 971551 h 1774825"/>
                <a:gd name="connsiteX16" fmla="*/ 1971676 w 2438400"/>
                <a:gd name="connsiteY16" fmla="*/ 971551 h 1774825"/>
                <a:gd name="connsiteX17" fmla="*/ 1971676 w 2438400"/>
                <a:gd name="connsiteY17" fmla="*/ 801688 h 1774825"/>
                <a:gd name="connsiteX18" fmla="*/ 471488 w 2438400"/>
                <a:gd name="connsiteY18" fmla="*/ 801688 h 1774825"/>
                <a:gd name="connsiteX19" fmla="*/ 471488 w 2438400"/>
                <a:gd name="connsiteY19" fmla="*/ 1174750 h 1774825"/>
                <a:gd name="connsiteX20" fmla="*/ 471488 w 2438400"/>
                <a:gd name="connsiteY20" fmla="*/ 1347788 h 1774825"/>
                <a:gd name="connsiteX21" fmla="*/ 1971676 w 2438400"/>
                <a:gd name="connsiteY21" fmla="*/ 1347788 h 1774825"/>
                <a:gd name="connsiteX22" fmla="*/ 1971676 w 2438400"/>
                <a:gd name="connsiteY22" fmla="*/ 1174750 h 1774825"/>
                <a:gd name="connsiteX23" fmla="*/ 471488 w 2438400"/>
                <a:gd name="connsiteY23" fmla="*/ 1174750 h 177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38400" h="1774825">
                  <a:moveTo>
                    <a:pt x="290196" y="0"/>
                  </a:moveTo>
                  <a:cubicBezTo>
                    <a:pt x="2151973" y="0"/>
                    <a:pt x="2151973" y="0"/>
                    <a:pt x="2151973" y="0"/>
                  </a:cubicBezTo>
                  <a:cubicBezTo>
                    <a:pt x="2310262" y="0"/>
                    <a:pt x="2438400" y="128119"/>
                    <a:pt x="2438400" y="286384"/>
                  </a:cubicBezTo>
                  <a:lnTo>
                    <a:pt x="2438400" y="1484673"/>
                  </a:lnTo>
                  <a:cubicBezTo>
                    <a:pt x="2438400" y="1646706"/>
                    <a:pt x="2310262" y="1774825"/>
                    <a:pt x="2151973" y="1774825"/>
                  </a:cubicBezTo>
                  <a:cubicBezTo>
                    <a:pt x="290196" y="1774825"/>
                    <a:pt x="290196" y="1774825"/>
                    <a:pt x="290196" y="1774825"/>
                  </a:cubicBezTo>
                  <a:cubicBezTo>
                    <a:pt x="131907" y="1774825"/>
                    <a:pt x="0" y="1646706"/>
                    <a:pt x="0" y="1484673"/>
                  </a:cubicBezTo>
                  <a:cubicBezTo>
                    <a:pt x="0" y="286384"/>
                    <a:pt x="0" y="286384"/>
                    <a:pt x="0" y="286384"/>
                  </a:cubicBezTo>
                  <a:cubicBezTo>
                    <a:pt x="0" y="128119"/>
                    <a:pt x="131907" y="0"/>
                    <a:pt x="290196" y="0"/>
                  </a:cubicBezTo>
                  <a:close/>
                  <a:moveTo>
                    <a:pt x="471488" y="425450"/>
                  </a:moveTo>
                  <a:lnTo>
                    <a:pt x="471488" y="598488"/>
                  </a:lnTo>
                  <a:lnTo>
                    <a:pt x="1971676" y="598488"/>
                  </a:lnTo>
                  <a:lnTo>
                    <a:pt x="1971676" y="425450"/>
                  </a:lnTo>
                  <a:lnTo>
                    <a:pt x="471488" y="425450"/>
                  </a:lnTo>
                  <a:close/>
                  <a:moveTo>
                    <a:pt x="471488" y="801688"/>
                  </a:moveTo>
                  <a:lnTo>
                    <a:pt x="471488" y="971551"/>
                  </a:lnTo>
                  <a:lnTo>
                    <a:pt x="1971676" y="971551"/>
                  </a:lnTo>
                  <a:lnTo>
                    <a:pt x="1971676" y="801688"/>
                  </a:lnTo>
                  <a:lnTo>
                    <a:pt x="471488" y="801688"/>
                  </a:lnTo>
                  <a:close/>
                  <a:moveTo>
                    <a:pt x="471488" y="1174750"/>
                  </a:moveTo>
                  <a:lnTo>
                    <a:pt x="471488" y="1347788"/>
                  </a:lnTo>
                  <a:lnTo>
                    <a:pt x="1971676" y="1347788"/>
                  </a:lnTo>
                  <a:lnTo>
                    <a:pt x="1971676" y="1174750"/>
                  </a:lnTo>
                  <a:lnTo>
                    <a:pt x="471488" y="1174750"/>
                  </a:lnTo>
                  <a:close/>
                </a:path>
              </a:pathLst>
            </a:custGeom>
            <a:grpFill/>
            <a:ln>
              <a:noFill/>
            </a:ln>
          </p:spPr>
          <p:txBody>
            <a:bodyPr vert="horz" wrap="square" lIns="68564" tIns="34281" rIns="68564" bIns="34281" numCol="1" anchor="t" anchorCtr="0" compatLnSpc="1">
              <a:noAutofit/>
            </a:bodyPr>
            <a:lstStyle/>
            <a:p>
              <a:endParaRPr lang="zh-CN" altLang="en-US" sz="15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grpSp>
        <p:nvGrpSpPr>
          <p:cNvPr id="73" name="Shape14"/>
          <p:cNvGrpSpPr/>
          <p:nvPr/>
        </p:nvGrpSpPr>
        <p:grpSpPr>
          <a:xfrm>
            <a:off x="6835424" y="1673601"/>
            <a:ext cx="336095" cy="429825"/>
            <a:chOff x="1605186" y="572440"/>
            <a:chExt cx="563562" cy="720725"/>
          </a:xfrm>
          <a:solidFill>
            <a:schemeClr val="bg1"/>
          </a:solidFill>
        </p:grpSpPr>
        <p:sp>
          <p:nvSpPr>
            <p:cNvPr id="1048851" name="Shape14"/>
            <p:cNvSpPr/>
            <p:nvPr/>
          </p:nvSpPr>
          <p:spPr bwMode="auto">
            <a:xfrm>
              <a:off x="1814736" y="572440"/>
              <a:ext cx="142875" cy="720725"/>
            </a:xfrm>
            <a:custGeom>
              <a:avLst/>
              <a:gdLst>
                <a:gd name="T0" fmla="*/ 64 w 64"/>
                <a:gd name="T1" fmla="*/ 289 h 321"/>
                <a:gd name="T2" fmla="*/ 32 w 64"/>
                <a:gd name="T3" fmla="*/ 321 h 321"/>
                <a:gd name="T4" fmla="*/ 0 w 64"/>
                <a:gd name="T5" fmla="*/ 289 h 321"/>
                <a:gd name="T6" fmla="*/ 0 w 64"/>
                <a:gd name="T7" fmla="*/ 32 h 321"/>
                <a:gd name="T8" fmla="*/ 32 w 64"/>
                <a:gd name="T9" fmla="*/ 0 h 321"/>
                <a:gd name="T10" fmla="*/ 64 w 64"/>
                <a:gd name="T11" fmla="*/ 32 h 321"/>
                <a:gd name="T12" fmla="*/ 64 w 64"/>
                <a:gd name="T13" fmla="*/ 289 h 321"/>
              </a:gdLst>
              <a:ahLst/>
              <a:cxnLst>
                <a:cxn ang="0">
                  <a:pos x="T0" y="T1"/>
                </a:cxn>
                <a:cxn ang="0">
                  <a:pos x="T2" y="T3"/>
                </a:cxn>
                <a:cxn ang="0">
                  <a:pos x="T4" y="T5"/>
                </a:cxn>
                <a:cxn ang="0">
                  <a:pos x="T6" y="T7"/>
                </a:cxn>
                <a:cxn ang="0">
                  <a:pos x="T8" y="T9"/>
                </a:cxn>
                <a:cxn ang="0">
                  <a:pos x="T10" y="T11"/>
                </a:cxn>
                <a:cxn ang="0">
                  <a:pos x="T12" y="T13"/>
                </a:cxn>
              </a:cxnLst>
              <a:rect l="0" t="0" r="r" b="b"/>
              <a:pathLst>
                <a:path w="64" h="321">
                  <a:moveTo>
                    <a:pt x="64" y="289"/>
                  </a:moveTo>
                  <a:cubicBezTo>
                    <a:pt x="64" y="307"/>
                    <a:pt x="49" y="321"/>
                    <a:pt x="32" y="321"/>
                  </a:cubicBezTo>
                  <a:cubicBezTo>
                    <a:pt x="14" y="321"/>
                    <a:pt x="0" y="307"/>
                    <a:pt x="0" y="289"/>
                  </a:cubicBezTo>
                  <a:cubicBezTo>
                    <a:pt x="0" y="32"/>
                    <a:pt x="0" y="32"/>
                    <a:pt x="0" y="32"/>
                  </a:cubicBezTo>
                  <a:cubicBezTo>
                    <a:pt x="0" y="14"/>
                    <a:pt x="14" y="0"/>
                    <a:pt x="32" y="0"/>
                  </a:cubicBezTo>
                  <a:cubicBezTo>
                    <a:pt x="49" y="0"/>
                    <a:pt x="64" y="14"/>
                    <a:pt x="64" y="32"/>
                  </a:cubicBezTo>
                  <a:lnTo>
                    <a:pt x="64" y="289"/>
                  </a:lnTo>
                  <a:close/>
                </a:path>
              </a:pathLst>
            </a:custGeom>
            <a:grpFill/>
            <a:ln>
              <a:noFill/>
            </a:ln>
          </p:spPr>
          <p:txBody>
            <a:bodyPr vert="horz" wrap="square" lIns="68564" tIns="34281" rIns="68564" bIns="34281" numCol="1" anchor="t" anchorCtr="0" compatLnSpc="1"/>
            <a:lstStyle/>
            <a:p>
              <a:endParaRPr lang="zh-CN" altLang="en-US" sz="1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52" name="Shape14"/>
            <p:cNvSpPr/>
            <p:nvPr/>
          </p:nvSpPr>
          <p:spPr bwMode="auto">
            <a:xfrm>
              <a:off x="1605186" y="1012177"/>
              <a:ext cx="141288" cy="280988"/>
            </a:xfrm>
            <a:custGeom>
              <a:avLst/>
              <a:gdLst>
                <a:gd name="T0" fmla="*/ 63 w 63"/>
                <a:gd name="T1" fmla="*/ 93 h 125"/>
                <a:gd name="T2" fmla="*/ 32 w 63"/>
                <a:gd name="T3" fmla="*/ 125 h 125"/>
                <a:gd name="T4" fmla="*/ 0 w 63"/>
                <a:gd name="T5" fmla="*/ 93 h 125"/>
                <a:gd name="T6" fmla="*/ 0 w 63"/>
                <a:gd name="T7" fmla="*/ 32 h 125"/>
                <a:gd name="T8" fmla="*/ 32 w 63"/>
                <a:gd name="T9" fmla="*/ 0 h 125"/>
                <a:gd name="T10" fmla="*/ 63 w 63"/>
                <a:gd name="T11" fmla="*/ 32 h 125"/>
                <a:gd name="T12" fmla="*/ 63 w 63"/>
                <a:gd name="T13" fmla="*/ 93 h 125"/>
              </a:gdLst>
              <a:ahLst/>
              <a:cxnLst>
                <a:cxn ang="0">
                  <a:pos x="T0" y="T1"/>
                </a:cxn>
                <a:cxn ang="0">
                  <a:pos x="T2" y="T3"/>
                </a:cxn>
                <a:cxn ang="0">
                  <a:pos x="T4" y="T5"/>
                </a:cxn>
                <a:cxn ang="0">
                  <a:pos x="T6" y="T7"/>
                </a:cxn>
                <a:cxn ang="0">
                  <a:pos x="T8" y="T9"/>
                </a:cxn>
                <a:cxn ang="0">
                  <a:pos x="T10" y="T11"/>
                </a:cxn>
                <a:cxn ang="0">
                  <a:pos x="T12" y="T13"/>
                </a:cxn>
              </a:cxnLst>
              <a:rect l="0" t="0" r="r" b="b"/>
              <a:pathLst>
                <a:path w="63" h="125">
                  <a:moveTo>
                    <a:pt x="63" y="93"/>
                  </a:moveTo>
                  <a:cubicBezTo>
                    <a:pt x="63" y="111"/>
                    <a:pt x="49" y="125"/>
                    <a:pt x="32" y="125"/>
                  </a:cubicBezTo>
                  <a:cubicBezTo>
                    <a:pt x="14" y="125"/>
                    <a:pt x="0" y="111"/>
                    <a:pt x="0" y="93"/>
                  </a:cubicBezTo>
                  <a:cubicBezTo>
                    <a:pt x="0" y="32"/>
                    <a:pt x="0" y="32"/>
                    <a:pt x="0" y="32"/>
                  </a:cubicBezTo>
                  <a:cubicBezTo>
                    <a:pt x="0" y="14"/>
                    <a:pt x="14" y="0"/>
                    <a:pt x="32" y="0"/>
                  </a:cubicBezTo>
                  <a:cubicBezTo>
                    <a:pt x="49" y="0"/>
                    <a:pt x="63" y="14"/>
                    <a:pt x="63" y="32"/>
                  </a:cubicBezTo>
                  <a:lnTo>
                    <a:pt x="63" y="93"/>
                  </a:lnTo>
                  <a:close/>
                </a:path>
              </a:pathLst>
            </a:custGeom>
            <a:grpFill/>
            <a:ln>
              <a:noFill/>
            </a:ln>
          </p:spPr>
          <p:txBody>
            <a:bodyPr vert="horz" wrap="square" lIns="68564" tIns="34281" rIns="68564" bIns="34281" numCol="1" anchor="t" anchorCtr="0" compatLnSpc="1"/>
            <a:lstStyle/>
            <a:p>
              <a:endParaRPr lang="zh-CN" altLang="en-US" sz="1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53" name="Shape14"/>
            <p:cNvSpPr/>
            <p:nvPr/>
          </p:nvSpPr>
          <p:spPr bwMode="auto">
            <a:xfrm>
              <a:off x="2025873" y="804215"/>
              <a:ext cx="142875" cy="488950"/>
            </a:xfrm>
            <a:custGeom>
              <a:avLst/>
              <a:gdLst>
                <a:gd name="T0" fmla="*/ 64 w 64"/>
                <a:gd name="T1" fmla="*/ 186 h 218"/>
                <a:gd name="T2" fmla="*/ 32 w 64"/>
                <a:gd name="T3" fmla="*/ 218 h 218"/>
                <a:gd name="T4" fmla="*/ 0 w 64"/>
                <a:gd name="T5" fmla="*/ 186 h 218"/>
                <a:gd name="T6" fmla="*/ 0 w 64"/>
                <a:gd name="T7" fmla="*/ 32 h 218"/>
                <a:gd name="T8" fmla="*/ 32 w 64"/>
                <a:gd name="T9" fmla="*/ 0 h 218"/>
                <a:gd name="T10" fmla="*/ 64 w 64"/>
                <a:gd name="T11" fmla="*/ 32 h 218"/>
                <a:gd name="T12" fmla="*/ 64 w 64"/>
                <a:gd name="T13" fmla="*/ 186 h 218"/>
              </a:gdLst>
              <a:ahLst/>
              <a:cxnLst>
                <a:cxn ang="0">
                  <a:pos x="T0" y="T1"/>
                </a:cxn>
                <a:cxn ang="0">
                  <a:pos x="T2" y="T3"/>
                </a:cxn>
                <a:cxn ang="0">
                  <a:pos x="T4" y="T5"/>
                </a:cxn>
                <a:cxn ang="0">
                  <a:pos x="T6" y="T7"/>
                </a:cxn>
                <a:cxn ang="0">
                  <a:pos x="T8" y="T9"/>
                </a:cxn>
                <a:cxn ang="0">
                  <a:pos x="T10" y="T11"/>
                </a:cxn>
                <a:cxn ang="0">
                  <a:pos x="T12" y="T13"/>
                </a:cxn>
              </a:cxnLst>
              <a:rect l="0" t="0" r="r" b="b"/>
              <a:pathLst>
                <a:path w="64" h="218">
                  <a:moveTo>
                    <a:pt x="64" y="186"/>
                  </a:moveTo>
                  <a:cubicBezTo>
                    <a:pt x="64" y="204"/>
                    <a:pt x="49" y="218"/>
                    <a:pt x="32" y="218"/>
                  </a:cubicBezTo>
                  <a:cubicBezTo>
                    <a:pt x="14" y="218"/>
                    <a:pt x="0" y="204"/>
                    <a:pt x="0" y="186"/>
                  </a:cubicBezTo>
                  <a:cubicBezTo>
                    <a:pt x="0" y="32"/>
                    <a:pt x="0" y="32"/>
                    <a:pt x="0" y="32"/>
                  </a:cubicBezTo>
                  <a:cubicBezTo>
                    <a:pt x="0" y="14"/>
                    <a:pt x="14" y="0"/>
                    <a:pt x="32" y="0"/>
                  </a:cubicBezTo>
                  <a:cubicBezTo>
                    <a:pt x="49" y="0"/>
                    <a:pt x="64" y="14"/>
                    <a:pt x="64" y="32"/>
                  </a:cubicBezTo>
                  <a:lnTo>
                    <a:pt x="64" y="186"/>
                  </a:lnTo>
                  <a:close/>
                </a:path>
              </a:pathLst>
            </a:custGeom>
            <a:grpFill/>
            <a:ln>
              <a:noFill/>
            </a:ln>
          </p:spPr>
          <p:txBody>
            <a:bodyPr vert="horz" wrap="square" lIns="68564" tIns="34281" rIns="68564" bIns="34281" numCol="1" anchor="t" anchorCtr="0" compatLnSpc="1"/>
            <a:lstStyle/>
            <a:p>
              <a:endParaRPr lang="zh-CN" altLang="en-US" sz="100">
                <a:solidFill>
                  <a:prstClr val="black"/>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grpSp>
      <p:sp>
        <p:nvSpPr>
          <p:cNvPr id="1048855" name="Shape15"/>
          <p:cNvSpPr txBox="1"/>
          <p:nvPr>
            <p:custDataLst>
              <p:tags r:id="rId1"/>
            </p:custDataLst>
          </p:nvPr>
        </p:nvSpPr>
        <p:spPr>
          <a:xfrm>
            <a:off x="3554730" y="1298734"/>
            <a:ext cx="2034540" cy="1303020"/>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lnSpc>
                <a:spcPct val="150000"/>
              </a:lnSpc>
            </a:pPr>
            <a:r>
              <a:rPr lang="zh-CN" altLang="en-US" sz="105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液化气站点是液化气经营的主体。每个乡镇均有一家以上液化气站点进行服务，目前采用的形式是一家站点集中加注，各站点进行配送。</a:t>
            </a:r>
            <a:endParaRPr lang="zh-CN" altLang="en-US" sz="105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57" name="Shape16"/>
          <p:cNvSpPr txBox="1"/>
          <p:nvPr>
            <p:custDataLst>
              <p:tags r:id="rId2"/>
            </p:custDataLst>
          </p:nvPr>
        </p:nvSpPr>
        <p:spPr>
          <a:xfrm>
            <a:off x="980440" y="2858770"/>
            <a:ext cx="2413635" cy="768350"/>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lnSpc>
                <a:spcPct val="150000"/>
              </a:lnSpc>
            </a:pPr>
            <a:r>
              <a:rPr lang="zh-CN" altLang="en-US" sz="975"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燃气协会是天然气、液化气经营机构的协会组织。各省均有相关协会，一般由住建厅</a:t>
            </a:r>
            <a:r>
              <a:rPr lang="zh-CN" altLang="en-US" sz="975"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管理。</a:t>
            </a:r>
            <a:endParaRPr lang="zh-CN" altLang="en-US" sz="975"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859" name="Shape17"/>
          <p:cNvSpPr txBox="1"/>
          <p:nvPr>
            <p:custDataLst>
              <p:tags r:id="rId3"/>
            </p:custDataLst>
          </p:nvPr>
        </p:nvSpPr>
        <p:spPr>
          <a:xfrm>
            <a:off x="5771515" y="2757805"/>
            <a:ext cx="2514600" cy="1060450"/>
          </a:xfrm>
          <a:prstGeom prst="rect">
            <a:avLst/>
          </a:prstGeom>
        </p:spPr>
        <p:txBody>
          <a:bodyPr wrap="square">
            <a:spAutoFit/>
          </a:bodyPr>
          <a:lstStyle>
            <a:defPPr>
              <a:defRPr lang="zh-CN"/>
            </a:defPPr>
            <a:lvl1pPr defTabSz="457200">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lnSpc>
                <a:spcPct val="150000"/>
              </a:lnSpc>
            </a:pPr>
            <a:r>
              <a:rPr lang="zh-CN" altLang="en-US" sz="105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燃气管理办公室一般设置在市场监督管理局、住建局或</a:t>
            </a:r>
            <a:r>
              <a:rPr lang="zh-CN" altLang="en-US" sz="105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城市执法局，是燃气相关业务的</a:t>
            </a:r>
            <a:r>
              <a:rPr lang="zh-CN" altLang="en-US" sz="105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主管单位，负责辖区内燃气安全生产</a:t>
            </a:r>
            <a:r>
              <a:rPr lang="zh-CN" altLang="en-US" sz="105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工作。</a:t>
            </a:r>
            <a:endParaRPr lang="zh-CN" altLang="en-US" sz="1050" dirty="0">
              <a:solidFill>
                <a:schemeClr val="tx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8" name="Shape9"/>
          <p:cNvSpPr txBox="1"/>
          <p:nvPr>
            <p:custDataLst>
              <p:tags r:id="rId4"/>
            </p:custDataLst>
          </p:nvPr>
        </p:nvSpPr>
        <p:spPr>
          <a:xfrm>
            <a:off x="954405" y="2159000"/>
            <a:ext cx="2466340" cy="275590"/>
          </a:xfrm>
          <a:prstGeom prst="rect">
            <a:avLst/>
          </a:prstGeom>
          <a:noFill/>
          <a:effectLst/>
        </p:spPr>
        <p:txBody>
          <a:bodyPr wrap="square" rtlCol="0">
            <a:spAutoFit/>
          </a:bodyPr>
          <a:p>
            <a:pPr algn="ctr"/>
            <a:r>
              <a:rPr lang="zh-CN" altLang="en-US" sz="12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省燃气协会</a:t>
            </a:r>
            <a:r>
              <a:rPr lang="zh-CN" altLang="en-US" sz="12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rPr>
              <a:t>找会长</a:t>
            </a:r>
            <a:endParaRPr lang="zh-CN" altLang="en-US" sz="1200" dirty="0">
              <a:solidFill>
                <a:schemeClr val="bg1"/>
              </a:solidFill>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Tree>
  </p:cSld>
  <p:clrMapOvr>
    <a:masterClrMapping/>
  </p:clrMapOvr>
  <p:timing>
    <p:tnLst>
      <p:par>
        <p:cTn id="1" dur="indefinite" restart="never" nodeType="tmRoot"/>
      </p:par>
    </p:tnLst>
    <p:bldLst>
      <p:bldP spid="1048841" grpId="0" bldLvl="0" animBg="1"/>
      <p:bldP spid="1048842" grpId="0" bldLvl="0" animBg="1"/>
      <p:bldP spid="1048843" grpId="0" bldLvl="0" animBg="1"/>
      <p:bldP spid="1048845" grpId="0" bldLvl="0" animBg="1"/>
      <p:bldP spid="1048846" grpId="0" bldLvl="0" animBg="1"/>
      <p:bldP spid="8" grpId="0" bldLvl="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Shape4"/>
          <p:cNvGrpSpPr/>
          <p:nvPr/>
        </p:nvGrpSpPr>
        <p:grpSpPr>
          <a:xfrm>
            <a:off x="299618" y="412859"/>
            <a:ext cx="824633" cy="144001"/>
            <a:chOff x="7922707" y="4563003"/>
            <a:chExt cx="824632" cy="144000"/>
          </a:xfrm>
        </p:grpSpPr>
        <p:sp>
          <p:nvSpPr>
            <p:cNvPr id="1048837"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38"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39"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57"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58"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840" name="Shape5"/>
          <p:cNvSpPr txBox="1"/>
          <p:nvPr/>
        </p:nvSpPr>
        <p:spPr>
          <a:xfrm>
            <a:off x="1150409" y="346360"/>
            <a:ext cx="1652954"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渠道资源</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pic>
        <p:nvPicPr>
          <p:cNvPr id="2" name="图片 1" descr="微信图片_20240918102234"/>
          <p:cNvPicPr>
            <a:picLocks noChangeAspect="1"/>
          </p:cNvPicPr>
          <p:nvPr/>
        </p:nvPicPr>
        <p:blipFill>
          <a:blip r:embed="rId1"/>
          <a:stretch>
            <a:fillRect/>
          </a:stretch>
        </p:blipFill>
        <p:spPr>
          <a:xfrm>
            <a:off x="469900" y="604520"/>
            <a:ext cx="7469505" cy="3925570"/>
          </a:xfrm>
          <a:prstGeom prst="rect">
            <a:avLst/>
          </a:prstGeom>
        </p:spPr>
      </p:pic>
      <p:sp>
        <p:nvSpPr>
          <p:cNvPr id="4" name="矩形 3"/>
          <p:cNvSpPr/>
          <p:nvPr/>
        </p:nvSpPr>
        <p:spPr>
          <a:xfrm>
            <a:off x="6073775" y="556895"/>
            <a:ext cx="1865630" cy="254635"/>
          </a:xfrm>
          <a:prstGeom prst="rect">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Shape4"/>
          <p:cNvGrpSpPr/>
          <p:nvPr/>
        </p:nvGrpSpPr>
        <p:grpSpPr>
          <a:xfrm>
            <a:off x="299618" y="412859"/>
            <a:ext cx="824633" cy="144001"/>
            <a:chOff x="7922707" y="4563003"/>
            <a:chExt cx="824632" cy="144000"/>
          </a:xfrm>
        </p:grpSpPr>
        <p:sp>
          <p:nvSpPr>
            <p:cNvPr id="1048837" name="Shape4"/>
            <p:cNvSpPr/>
            <p:nvPr/>
          </p:nvSpPr>
          <p:spPr>
            <a:xfrm>
              <a:off x="7922707"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38" name="Shape4"/>
            <p:cNvSpPr/>
            <p:nvPr/>
          </p:nvSpPr>
          <p:spPr>
            <a:xfrm>
              <a:off x="8603339" y="456300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839" name="Shape4"/>
            <p:cNvSpPr/>
            <p:nvPr/>
          </p:nvSpPr>
          <p:spPr>
            <a:xfrm>
              <a:off x="8263023" y="4563003"/>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bg1"/>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cxnSp>
          <p:nvCxnSpPr>
            <p:cNvPr id="3145757" name="Shape4"/>
            <p:cNvCxnSpPr/>
            <p:nvPr/>
          </p:nvCxnSpPr>
          <p:spPr>
            <a:xfrm>
              <a:off x="8092865" y="4635003"/>
              <a:ext cx="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5758" name="Shape4"/>
            <p:cNvCxnSpPr/>
            <p:nvPr/>
          </p:nvCxnSpPr>
          <p:spPr>
            <a:xfrm>
              <a:off x="8433181" y="4635003"/>
              <a:ext cx="144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8840" name="Shape5"/>
          <p:cNvSpPr txBox="1"/>
          <p:nvPr/>
        </p:nvSpPr>
        <p:spPr>
          <a:xfrm>
            <a:off x="1150409" y="346360"/>
            <a:ext cx="1652954" cy="321945"/>
          </a:xfrm>
          <a:prstGeom prst="rect">
            <a:avLst/>
          </a:prstGeom>
          <a:noFill/>
        </p:spPr>
        <p:txBody>
          <a:bodyPr wrap="square" rtlCol="0">
            <a:spAutoFit/>
          </a:bodyPr>
          <a:lstStyle/>
          <a:p>
            <a:r>
              <a:rPr lang="zh-CN" altLang="en-US" sz="1500" dirty="0">
                <a:latin typeface="微软雅黑" panose="020B0503020204020204" charset="-122"/>
                <a:ea typeface="微软雅黑" panose="020B0503020204020204" charset="-122"/>
                <a:sym typeface="汉仪旗黑X1-55W" panose="00020600040101010101" pitchFamily="18" charset="-122"/>
              </a:rPr>
              <a:t>项目指导对接人</a:t>
            </a:r>
            <a:endParaRPr lang="zh-CN" altLang="en-US" sz="1500" dirty="0">
              <a:latin typeface="微软雅黑" panose="020B0503020204020204" charset="-122"/>
              <a:ea typeface="微软雅黑" panose="020B0503020204020204" charset="-122"/>
              <a:sym typeface="汉仪旗黑X1-55W" panose="00020600040101010101" pitchFamily="18" charset="-122"/>
            </a:endParaRPr>
          </a:p>
        </p:txBody>
      </p:sp>
      <p:sp>
        <p:nvSpPr>
          <p:cNvPr id="4" name="矩形 3"/>
          <p:cNvSpPr/>
          <p:nvPr/>
        </p:nvSpPr>
        <p:spPr>
          <a:xfrm>
            <a:off x="6073775" y="556895"/>
            <a:ext cx="1865630" cy="254635"/>
          </a:xfrm>
          <a:prstGeom prst="rect">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grpSp>
        <p:nvGrpSpPr>
          <p:cNvPr id="14" name="组合 13"/>
          <p:cNvGrpSpPr/>
          <p:nvPr/>
        </p:nvGrpSpPr>
        <p:grpSpPr>
          <a:xfrm>
            <a:off x="4721225" y="839470"/>
            <a:ext cx="2967355" cy="3554095"/>
            <a:chOff x="11762" y="2030"/>
            <a:chExt cx="5712" cy="7296"/>
          </a:xfrm>
        </p:grpSpPr>
        <p:sp>
          <p:nvSpPr>
            <p:cNvPr id="3" name="任意多边形: 形状 17"/>
            <p:cNvSpPr/>
            <p:nvPr>
              <p:custDataLst>
                <p:tags r:id="rId1"/>
              </p:custDataLst>
            </p:nvPr>
          </p:nvSpPr>
          <p:spPr>
            <a:xfrm rot="21342100">
              <a:off x="11762" y="2030"/>
              <a:ext cx="5712" cy="7186"/>
            </a:xfrm>
            <a:custGeom>
              <a:avLst/>
              <a:gdLst>
                <a:gd name="connsiteX0" fmla="*/ 51465 w 3626875"/>
                <a:gd name="connsiteY0" fmla="*/ 0 h 4563048"/>
                <a:gd name="connsiteX1" fmla="*/ 3575410 w 3626875"/>
                <a:gd name="connsiteY1" fmla="*/ 0 h 4563048"/>
                <a:gd name="connsiteX2" fmla="*/ 3626875 w 3626875"/>
                <a:gd name="connsiteY2" fmla="*/ 51465 h 4563048"/>
                <a:gd name="connsiteX3" fmla="*/ 3626875 w 3626875"/>
                <a:gd name="connsiteY3" fmla="*/ 4511583 h 4563048"/>
                <a:gd name="connsiteX4" fmla="*/ 3575410 w 3626875"/>
                <a:gd name="connsiteY4" fmla="*/ 4563048 h 4563048"/>
                <a:gd name="connsiteX5" fmla="*/ 51465 w 3626875"/>
                <a:gd name="connsiteY5" fmla="*/ 4563048 h 4563048"/>
                <a:gd name="connsiteX6" fmla="*/ 0 w 3626875"/>
                <a:gd name="connsiteY6" fmla="*/ 4511583 h 4563048"/>
                <a:gd name="connsiteX7" fmla="*/ 0 w 3626875"/>
                <a:gd name="connsiteY7" fmla="*/ 51465 h 4563048"/>
                <a:gd name="connsiteX8" fmla="*/ 51465 w 3626875"/>
                <a:gd name="connsiteY8" fmla="*/ 0 h 4563048"/>
                <a:gd name="connsiteX9" fmla="*/ 273025 w 3626875"/>
                <a:gd name="connsiteY9" fmla="*/ 339208 h 4563048"/>
                <a:gd name="connsiteX10" fmla="*/ 273025 w 3626875"/>
                <a:gd name="connsiteY10" fmla="*/ 3588875 h 4563048"/>
                <a:gd name="connsiteX11" fmla="*/ 3353850 w 3626875"/>
                <a:gd name="connsiteY11" fmla="*/ 3588875 h 4563048"/>
                <a:gd name="connsiteX12" fmla="*/ 3353850 w 3626875"/>
                <a:gd name="connsiteY12" fmla="*/ 339208 h 4563048"/>
                <a:gd name="connsiteX13" fmla="*/ 273025 w 3626875"/>
                <a:gd name="connsiteY13" fmla="*/ 339208 h 456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6875" h="4563048">
                  <a:moveTo>
                    <a:pt x="51465" y="0"/>
                  </a:moveTo>
                  <a:lnTo>
                    <a:pt x="3575410" y="0"/>
                  </a:lnTo>
                  <a:cubicBezTo>
                    <a:pt x="3603833" y="0"/>
                    <a:pt x="3626875" y="23042"/>
                    <a:pt x="3626875" y="51465"/>
                  </a:cubicBezTo>
                  <a:lnTo>
                    <a:pt x="3626875" y="4511583"/>
                  </a:lnTo>
                  <a:cubicBezTo>
                    <a:pt x="3626875" y="4540006"/>
                    <a:pt x="3603833" y="4563048"/>
                    <a:pt x="3575410" y="4563048"/>
                  </a:cubicBezTo>
                  <a:lnTo>
                    <a:pt x="51465" y="4563048"/>
                  </a:lnTo>
                  <a:cubicBezTo>
                    <a:pt x="23042" y="4563048"/>
                    <a:pt x="0" y="4540006"/>
                    <a:pt x="0" y="4511583"/>
                  </a:cubicBezTo>
                  <a:lnTo>
                    <a:pt x="0" y="51465"/>
                  </a:lnTo>
                  <a:cubicBezTo>
                    <a:pt x="0" y="23042"/>
                    <a:pt x="23042" y="0"/>
                    <a:pt x="51465" y="0"/>
                  </a:cubicBezTo>
                  <a:close/>
                  <a:moveTo>
                    <a:pt x="273025" y="339208"/>
                  </a:moveTo>
                  <a:lnTo>
                    <a:pt x="273025" y="3588875"/>
                  </a:lnTo>
                  <a:lnTo>
                    <a:pt x="3353850" y="3588875"/>
                  </a:lnTo>
                  <a:lnTo>
                    <a:pt x="3353850" y="339208"/>
                  </a:lnTo>
                  <a:lnTo>
                    <a:pt x="273025" y="339208"/>
                  </a:lnTo>
                  <a:close/>
                </a:path>
              </a:pathLst>
            </a:custGeom>
            <a:solidFill>
              <a:schemeClr val="lt1">
                <a:lumMod val="100000"/>
              </a:schemeClr>
            </a:solidFill>
            <a:ln>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pic>
          <p:nvPicPr>
            <p:cNvPr id="5" name="图片 4" descr="C:/Users/13164/Desktop/b9141b4fdcdf643d2721fd2784e9c14.jpgb9141b4fdcdf643d2721fd2784e9c14"/>
            <p:cNvPicPr>
              <a:picLocks noChangeAspect="1"/>
            </p:cNvPicPr>
            <p:nvPr>
              <p:custDataLst>
                <p:tags r:id="rId2"/>
              </p:custDataLst>
            </p:nvPr>
          </p:nvPicPr>
          <p:blipFill>
            <a:blip r:embed="rId3"/>
            <a:srcRect t="8680" b="8680"/>
            <a:stretch>
              <a:fillRect/>
            </a:stretch>
          </p:blipFill>
          <p:spPr>
            <a:xfrm rot="180000">
              <a:off x="12215" y="2563"/>
              <a:ext cx="4781" cy="5744"/>
            </a:xfrm>
            <a:custGeom>
              <a:avLst/>
              <a:gdLst>
                <a:gd name="connsiteX0" fmla="*/ 0 w 3474720"/>
                <a:gd name="connsiteY0" fmla="*/ 0 h 4417255"/>
                <a:gd name="connsiteX1" fmla="*/ 3474720 w 3474720"/>
                <a:gd name="connsiteY1" fmla="*/ 0 h 4417255"/>
                <a:gd name="connsiteX2" fmla="*/ 3474720 w 3474720"/>
                <a:gd name="connsiteY2" fmla="*/ 4417255 h 4417255"/>
                <a:gd name="connsiteX3" fmla="*/ 0 w 3474720"/>
                <a:gd name="connsiteY3" fmla="*/ 4417255 h 4417255"/>
              </a:gdLst>
              <a:ahLst/>
              <a:cxnLst>
                <a:cxn ang="0">
                  <a:pos x="connsiteX0" y="connsiteY0"/>
                </a:cxn>
                <a:cxn ang="0">
                  <a:pos x="connsiteX1" y="connsiteY1"/>
                </a:cxn>
                <a:cxn ang="0">
                  <a:pos x="connsiteX2" y="connsiteY2"/>
                </a:cxn>
                <a:cxn ang="0">
                  <a:pos x="connsiteX3" y="connsiteY3"/>
                </a:cxn>
              </a:cxnLst>
              <a:rect l="l" t="t" r="r" b="b"/>
              <a:pathLst>
                <a:path w="3474720" h="4417255">
                  <a:moveTo>
                    <a:pt x="0" y="0"/>
                  </a:moveTo>
                  <a:lnTo>
                    <a:pt x="3474720" y="0"/>
                  </a:lnTo>
                  <a:lnTo>
                    <a:pt x="3474720" y="4417255"/>
                  </a:lnTo>
                  <a:lnTo>
                    <a:pt x="0" y="4417255"/>
                  </a:lnTo>
                  <a:close/>
                </a:path>
              </a:pathLst>
            </a:custGeom>
            <a:ln w="9525" cap="flat" cmpd="sng" algn="ctr">
              <a:solidFill>
                <a:schemeClr val="dk1">
                  <a:lumMod val="40000"/>
                  <a:lumOff val="60000"/>
                  <a:alpha val="50000"/>
                </a:schemeClr>
              </a:solidFill>
              <a:prstDash val="solid"/>
              <a:round/>
              <a:headEnd type="none" w="med" len="med"/>
              <a:tailEnd type="none" w="med" len="med"/>
            </a:ln>
          </p:spPr>
        </p:pic>
        <p:sp>
          <p:nvSpPr>
            <p:cNvPr id="6" name="任意多边形: 形状 6"/>
            <p:cNvSpPr/>
            <p:nvPr>
              <p:custDataLst>
                <p:tags r:id="rId4"/>
              </p:custDataLst>
            </p:nvPr>
          </p:nvSpPr>
          <p:spPr>
            <a:xfrm rot="157750">
              <a:off x="11762" y="2140"/>
              <a:ext cx="5712" cy="7186"/>
            </a:xfrm>
            <a:custGeom>
              <a:avLst/>
              <a:gdLst>
                <a:gd name="connsiteX0" fmla="*/ 51465 w 3626875"/>
                <a:gd name="connsiteY0" fmla="*/ 0 h 4563048"/>
                <a:gd name="connsiteX1" fmla="*/ 3575410 w 3626875"/>
                <a:gd name="connsiteY1" fmla="*/ 0 h 4563048"/>
                <a:gd name="connsiteX2" fmla="*/ 3626875 w 3626875"/>
                <a:gd name="connsiteY2" fmla="*/ 51465 h 4563048"/>
                <a:gd name="connsiteX3" fmla="*/ 3626875 w 3626875"/>
                <a:gd name="connsiteY3" fmla="*/ 4511583 h 4563048"/>
                <a:gd name="connsiteX4" fmla="*/ 3575410 w 3626875"/>
                <a:gd name="connsiteY4" fmla="*/ 4563048 h 4563048"/>
                <a:gd name="connsiteX5" fmla="*/ 51465 w 3626875"/>
                <a:gd name="connsiteY5" fmla="*/ 4563048 h 4563048"/>
                <a:gd name="connsiteX6" fmla="*/ 0 w 3626875"/>
                <a:gd name="connsiteY6" fmla="*/ 4511583 h 4563048"/>
                <a:gd name="connsiteX7" fmla="*/ 0 w 3626875"/>
                <a:gd name="connsiteY7" fmla="*/ 51465 h 4563048"/>
                <a:gd name="connsiteX8" fmla="*/ 51465 w 3626875"/>
                <a:gd name="connsiteY8" fmla="*/ 0 h 4563048"/>
                <a:gd name="connsiteX9" fmla="*/ 273025 w 3626875"/>
                <a:gd name="connsiteY9" fmla="*/ 339208 h 4563048"/>
                <a:gd name="connsiteX10" fmla="*/ 273025 w 3626875"/>
                <a:gd name="connsiteY10" fmla="*/ 3588875 h 4563048"/>
                <a:gd name="connsiteX11" fmla="*/ 3353850 w 3626875"/>
                <a:gd name="connsiteY11" fmla="*/ 3588875 h 4563048"/>
                <a:gd name="connsiteX12" fmla="*/ 3353850 w 3626875"/>
                <a:gd name="connsiteY12" fmla="*/ 339208 h 4563048"/>
                <a:gd name="connsiteX13" fmla="*/ 273025 w 3626875"/>
                <a:gd name="connsiteY13" fmla="*/ 339208 h 4563048"/>
                <a:gd name="connsiteX0-1" fmla="*/ 51465 w 3626875"/>
                <a:gd name="connsiteY0-2" fmla="*/ 0 h 4563048"/>
                <a:gd name="connsiteX1-3" fmla="*/ 3575410 w 3626875"/>
                <a:gd name="connsiteY1-4" fmla="*/ 0 h 4563048"/>
                <a:gd name="connsiteX2-5" fmla="*/ 3626875 w 3626875"/>
                <a:gd name="connsiteY2-6" fmla="*/ 51465 h 4563048"/>
                <a:gd name="connsiteX3-7" fmla="*/ 3626875 w 3626875"/>
                <a:gd name="connsiteY3-8" fmla="*/ 4511583 h 4563048"/>
                <a:gd name="connsiteX4-9" fmla="*/ 3575410 w 3626875"/>
                <a:gd name="connsiteY4-10" fmla="*/ 4563048 h 4563048"/>
                <a:gd name="connsiteX5-11" fmla="*/ 51465 w 3626875"/>
                <a:gd name="connsiteY5-12" fmla="*/ 4563048 h 4563048"/>
                <a:gd name="connsiteX6-13" fmla="*/ 0 w 3626875"/>
                <a:gd name="connsiteY6-14" fmla="*/ 4511583 h 4563048"/>
                <a:gd name="connsiteX7-15" fmla="*/ 0 w 3626875"/>
                <a:gd name="connsiteY7-16" fmla="*/ 51465 h 4563048"/>
                <a:gd name="connsiteX8-17" fmla="*/ 51465 w 3626875"/>
                <a:gd name="connsiteY8-18" fmla="*/ 0 h 4563048"/>
                <a:gd name="connsiteX9-19" fmla="*/ 273025 w 3626875"/>
                <a:gd name="connsiteY9-20" fmla="*/ 339208 h 4563048"/>
                <a:gd name="connsiteX10-21" fmla="*/ 273240 w 3626875"/>
                <a:gd name="connsiteY10-22" fmla="*/ 4053589 h 4563048"/>
                <a:gd name="connsiteX11-23" fmla="*/ 3353850 w 3626875"/>
                <a:gd name="connsiteY11-24" fmla="*/ 3588875 h 4563048"/>
                <a:gd name="connsiteX12-25" fmla="*/ 3353850 w 3626875"/>
                <a:gd name="connsiteY12-26" fmla="*/ 339208 h 4563048"/>
                <a:gd name="connsiteX13-27" fmla="*/ 273025 w 3626875"/>
                <a:gd name="connsiteY13-28" fmla="*/ 339208 h 4563048"/>
                <a:gd name="connsiteX0-29" fmla="*/ 51465 w 3626875"/>
                <a:gd name="connsiteY0-30" fmla="*/ 0 h 4563048"/>
                <a:gd name="connsiteX1-31" fmla="*/ 3575410 w 3626875"/>
                <a:gd name="connsiteY1-32" fmla="*/ 0 h 4563048"/>
                <a:gd name="connsiteX2-33" fmla="*/ 3626875 w 3626875"/>
                <a:gd name="connsiteY2-34" fmla="*/ 51465 h 4563048"/>
                <a:gd name="connsiteX3-35" fmla="*/ 3626875 w 3626875"/>
                <a:gd name="connsiteY3-36" fmla="*/ 4511583 h 4563048"/>
                <a:gd name="connsiteX4-37" fmla="*/ 3575410 w 3626875"/>
                <a:gd name="connsiteY4-38" fmla="*/ 4563048 h 4563048"/>
                <a:gd name="connsiteX5-39" fmla="*/ 51465 w 3626875"/>
                <a:gd name="connsiteY5-40" fmla="*/ 4563048 h 4563048"/>
                <a:gd name="connsiteX6-41" fmla="*/ 0 w 3626875"/>
                <a:gd name="connsiteY6-42" fmla="*/ 4511583 h 4563048"/>
                <a:gd name="connsiteX7-43" fmla="*/ 0 w 3626875"/>
                <a:gd name="connsiteY7-44" fmla="*/ 51465 h 4563048"/>
                <a:gd name="connsiteX8-45" fmla="*/ 51465 w 3626875"/>
                <a:gd name="connsiteY8-46" fmla="*/ 0 h 4563048"/>
                <a:gd name="connsiteX9-47" fmla="*/ 273025 w 3626875"/>
                <a:gd name="connsiteY9-48" fmla="*/ 339208 h 4563048"/>
                <a:gd name="connsiteX10-49" fmla="*/ 274782 w 3626875"/>
                <a:gd name="connsiteY10-50" fmla="*/ 3933816 h 4563048"/>
                <a:gd name="connsiteX11-51" fmla="*/ 3353850 w 3626875"/>
                <a:gd name="connsiteY11-52" fmla="*/ 3588875 h 4563048"/>
                <a:gd name="connsiteX12-53" fmla="*/ 3353850 w 3626875"/>
                <a:gd name="connsiteY12-54" fmla="*/ 339208 h 4563048"/>
                <a:gd name="connsiteX13-55" fmla="*/ 273025 w 3626875"/>
                <a:gd name="connsiteY13-56" fmla="*/ 339208 h 4563048"/>
                <a:gd name="connsiteX0-57" fmla="*/ 51465 w 3626875"/>
                <a:gd name="connsiteY0-58" fmla="*/ 0 h 4563048"/>
                <a:gd name="connsiteX1-59" fmla="*/ 3575410 w 3626875"/>
                <a:gd name="connsiteY1-60" fmla="*/ 0 h 4563048"/>
                <a:gd name="connsiteX2-61" fmla="*/ 3626875 w 3626875"/>
                <a:gd name="connsiteY2-62" fmla="*/ 51465 h 4563048"/>
                <a:gd name="connsiteX3-63" fmla="*/ 3626875 w 3626875"/>
                <a:gd name="connsiteY3-64" fmla="*/ 4511583 h 4563048"/>
                <a:gd name="connsiteX4-65" fmla="*/ 3575410 w 3626875"/>
                <a:gd name="connsiteY4-66" fmla="*/ 4563048 h 4563048"/>
                <a:gd name="connsiteX5-67" fmla="*/ 51465 w 3626875"/>
                <a:gd name="connsiteY5-68" fmla="*/ 4563048 h 4563048"/>
                <a:gd name="connsiteX6-69" fmla="*/ 0 w 3626875"/>
                <a:gd name="connsiteY6-70" fmla="*/ 4511583 h 4563048"/>
                <a:gd name="connsiteX7-71" fmla="*/ 0 w 3626875"/>
                <a:gd name="connsiteY7-72" fmla="*/ 51465 h 4563048"/>
                <a:gd name="connsiteX8-73" fmla="*/ 51465 w 3626875"/>
                <a:gd name="connsiteY8-74" fmla="*/ 0 h 4563048"/>
                <a:gd name="connsiteX9-75" fmla="*/ 273025 w 3626875"/>
                <a:gd name="connsiteY9-76" fmla="*/ 339208 h 4563048"/>
                <a:gd name="connsiteX10-77" fmla="*/ 274782 w 3626875"/>
                <a:gd name="connsiteY10-78" fmla="*/ 3933816 h 4563048"/>
                <a:gd name="connsiteX11-79" fmla="*/ 3356577 w 3626875"/>
                <a:gd name="connsiteY11-80" fmla="*/ 3954896 h 4563048"/>
                <a:gd name="connsiteX12-81" fmla="*/ 3353850 w 3626875"/>
                <a:gd name="connsiteY12-82" fmla="*/ 339208 h 4563048"/>
                <a:gd name="connsiteX13-83" fmla="*/ 273025 w 3626875"/>
                <a:gd name="connsiteY13-84" fmla="*/ 339208 h 4563048"/>
                <a:gd name="connsiteX0-85" fmla="*/ 51465 w 3626875"/>
                <a:gd name="connsiteY0-86" fmla="*/ 0 h 4563048"/>
                <a:gd name="connsiteX1-87" fmla="*/ 3575410 w 3626875"/>
                <a:gd name="connsiteY1-88" fmla="*/ 0 h 4563048"/>
                <a:gd name="connsiteX2-89" fmla="*/ 3626875 w 3626875"/>
                <a:gd name="connsiteY2-90" fmla="*/ 51465 h 4563048"/>
                <a:gd name="connsiteX3-91" fmla="*/ 3626875 w 3626875"/>
                <a:gd name="connsiteY3-92" fmla="*/ 4511583 h 4563048"/>
                <a:gd name="connsiteX4-93" fmla="*/ 3575410 w 3626875"/>
                <a:gd name="connsiteY4-94" fmla="*/ 4563048 h 4563048"/>
                <a:gd name="connsiteX5-95" fmla="*/ 51465 w 3626875"/>
                <a:gd name="connsiteY5-96" fmla="*/ 4563048 h 4563048"/>
                <a:gd name="connsiteX6-97" fmla="*/ 0 w 3626875"/>
                <a:gd name="connsiteY6-98" fmla="*/ 4511583 h 4563048"/>
                <a:gd name="connsiteX7-99" fmla="*/ 0 w 3626875"/>
                <a:gd name="connsiteY7-100" fmla="*/ 51465 h 4563048"/>
                <a:gd name="connsiteX8-101" fmla="*/ 51465 w 3626875"/>
                <a:gd name="connsiteY8-102" fmla="*/ 0 h 4563048"/>
                <a:gd name="connsiteX9-103" fmla="*/ 275535 w 3626875"/>
                <a:gd name="connsiteY9-104" fmla="*/ 240515 h 4563048"/>
                <a:gd name="connsiteX10-105" fmla="*/ 274782 w 3626875"/>
                <a:gd name="connsiteY10-106" fmla="*/ 3933816 h 4563048"/>
                <a:gd name="connsiteX11-107" fmla="*/ 3356577 w 3626875"/>
                <a:gd name="connsiteY11-108" fmla="*/ 3954896 h 4563048"/>
                <a:gd name="connsiteX12-109" fmla="*/ 3353850 w 3626875"/>
                <a:gd name="connsiteY12-110" fmla="*/ 339208 h 4563048"/>
                <a:gd name="connsiteX13-111" fmla="*/ 275535 w 3626875"/>
                <a:gd name="connsiteY13-112" fmla="*/ 240515 h 4563048"/>
                <a:gd name="connsiteX0-113" fmla="*/ 51465 w 3626875"/>
                <a:gd name="connsiteY0-114" fmla="*/ 0 h 4563048"/>
                <a:gd name="connsiteX1-115" fmla="*/ 3575410 w 3626875"/>
                <a:gd name="connsiteY1-116" fmla="*/ 0 h 4563048"/>
                <a:gd name="connsiteX2-117" fmla="*/ 3626875 w 3626875"/>
                <a:gd name="connsiteY2-118" fmla="*/ 51465 h 4563048"/>
                <a:gd name="connsiteX3-119" fmla="*/ 3626875 w 3626875"/>
                <a:gd name="connsiteY3-120" fmla="*/ 4511583 h 4563048"/>
                <a:gd name="connsiteX4-121" fmla="*/ 3575410 w 3626875"/>
                <a:gd name="connsiteY4-122" fmla="*/ 4563048 h 4563048"/>
                <a:gd name="connsiteX5-123" fmla="*/ 51465 w 3626875"/>
                <a:gd name="connsiteY5-124" fmla="*/ 4563048 h 4563048"/>
                <a:gd name="connsiteX6-125" fmla="*/ 0 w 3626875"/>
                <a:gd name="connsiteY6-126" fmla="*/ 4511583 h 4563048"/>
                <a:gd name="connsiteX7-127" fmla="*/ 0 w 3626875"/>
                <a:gd name="connsiteY7-128" fmla="*/ 51465 h 4563048"/>
                <a:gd name="connsiteX8-129" fmla="*/ 51465 w 3626875"/>
                <a:gd name="connsiteY8-130" fmla="*/ 0 h 4563048"/>
                <a:gd name="connsiteX9-131" fmla="*/ 275535 w 3626875"/>
                <a:gd name="connsiteY9-132" fmla="*/ 240515 h 4563048"/>
                <a:gd name="connsiteX10-133" fmla="*/ 274782 w 3626875"/>
                <a:gd name="connsiteY10-134" fmla="*/ 3933816 h 4563048"/>
                <a:gd name="connsiteX11-135" fmla="*/ 3356577 w 3626875"/>
                <a:gd name="connsiteY11-136" fmla="*/ 3954896 h 4563048"/>
                <a:gd name="connsiteX12-137" fmla="*/ 3349333 w 3626875"/>
                <a:gd name="connsiteY12-138" fmla="*/ 240838 h 4563048"/>
                <a:gd name="connsiteX13-139" fmla="*/ 275535 w 3626875"/>
                <a:gd name="connsiteY13-140" fmla="*/ 240515 h 4563048"/>
                <a:gd name="connsiteX0-141" fmla="*/ 51465 w 3626875"/>
                <a:gd name="connsiteY0-142" fmla="*/ 0 h 4563048"/>
                <a:gd name="connsiteX1-143" fmla="*/ 3575410 w 3626875"/>
                <a:gd name="connsiteY1-144" fmla="*/ 0 h 4563048"/>
                <a:gd name="connsiteX2-145" fmla="*/ 3626875 w 3626875"/>
                <a:gd name="connsiteY2-146" fmla="*/ 51465 h 4563048"/>
                <a:gd name="connsiteX3-147" fmla="*/ 3626875 w 3626875"/>
                <a:gd name="connsiteY3-148" fmla="*/ 4511583 h 4563048"/>
                <a:gd name="connsiteX4-149" fmla="*/ 3575410 w 3626875"/>
                <a:gd name="connsiteY4-150" fmla="*/ 4563048 h 4563048"/>
                <a:gd name="connsiteX5-151" fmla="*/ 51465 w 3626875"/>
                <a:gd name="connsiteY5-152" fmla="*/ 4563048 h 4563048"/>
                <a:gd name="connsiteX6-153" fmla="*/ 0 w 3626875"/>
                <a:gd name="connsiteY6-154" fmla="*/ 4511583 h 4563048"/>
                <a:gd name="connsiteX7-155" fmla="*/ 0 w 3626875"/>
                <a:gd name="connsiteY7-156" fmla="*/ 51465 h 4563048"/>
                <a:gd name="connsiteX8-157" fmla="*/ 51465 w 3626875"/>
                <a:gd name="connsiteY8-158" fmla="*/ 0 h 4563048"/>
                <a:gd name="connsiteX9-159" fmla="*/ 275535 w 3626875"/>
                <a:gd name="connsiteY9-160" fmla="*/ 240515 h 4563048"/>
                <a:gd name="connsiteX10-161" fmla="*/ 274782 w 3626875"/>
                <a:gd name="connsiteY10-162" fmla="*/ 3933816 h 4563048"/>
                <a:gd name="connsiteX11-163" fmla="*/ 3356577 w 3626875"/>
                <a:gd name="connsiteY11-164" fmla="*/ 3954896 h 4563048"/>
                <a:gd name="connsiteX12-165" fmla="*/ 3351269 w 3626875"/>
                <a:gd name="connsiteY12-166" fmla="*/ 282996 h 4563048"/>
                <a:gd name="connsiteX13-167" fmla="*/ 275535 w 3626875"/>
                <a:gd name="connsiteY13-168" fmla="*/ 240515 h 4563048"/>
                <a:gd name="connsiteX0-169" fmla="*/ 51465 w 3626875"/>
                <a:gd name="connsiteY0-170" fmla="*/ 0 h 4563048"/>
                <a:gd name="connsiteX1-171" fmla="*/ 3575410 w 3626875"/>
                <a:gd name="connsiteY1-172" fmla="*/ 0 h 4563048"/>
                <a:gd name="connsiteX2-173" fmla="*/ 3626875 w 3626875"/>
                <a:gd name="connsiteY2-174" fmla="*/ 51465 h 4563048"/>
                <a:gd name="connsiteX3-175" fmla="*/ 3626875 w 3626875"/>
                <a:gd name="connsiteY3-176" fmla="*/ 4511583 h 4563048"/>
                <a:gd name="connsiteX4-177" fmla="*/ 3575410 w 3626875"/>
                <a:gd name="connsiteY4-178" fmla="*/ 4563048 h 4563048"/>
                <a:gd name="connsiteX5-179" fmla="*/ 51465 w 3626875"/>
                <a:gd name="connsiteY5-180" fmla="*/ 4563048 h 4563048"/>
                <a:gd name="connsiteX6-181" fmla="*/ 0 w 3626875"/>
                <a:gd name="connsiteY6-182" fmla="*/ 4511583 h 4563048"/>
                <a:gd name="connsiteX7-183" fmla="*/ 0 w 3626875"/>
                <a:gd name="connsiteY7-184" fmla="*/ 51465 h 4563048"/>
                <a:gd name="connsiteX8-185" fmla="*/ 51465 w 3626875"/>
                <a:gd name="connsiteY8-186" fmla="*/ 0 h 4563048"/>
                <a:gd name="connsiteX9-187" fmla="*/ 275535 w 3626875"/>
                <a:gd name="connsiteY9-188" fmla="*/ 240515 h 4563048"/>
                <a:gd name="connsiteX10-189" fmla="*/ 279550 w 3626875"/>
                <a:gd name="connsiteY10-190" fmla="*/ 3884310 h 4563048"/>
                <a:gd name="connsiteX11-191" fmla="*/ 3356577 w 3626875"/>
                <a:gd name="connsiteY11-192" fmla="*/ 3954896 h 4563048"/>
                <a:gd name="connsiteX12-193" fmla="*/ 3351269 w 3626875"/>
                <a:gd name="connsiteY12-194" fmla="*/ 282996 h 4563048"/>
                <a:gd name="connsiteX13-195" fmla="*/ 275535 w 3626875"/>
                <a:gd name="connsiteY13-196" fmla="*/ 240515 h 4563048"/>
                <a:gd name="connsiteX0-197" fmla="*/ 51465 w 3626875"/>
                <a:gd name="connsiteY0-198" fmla="*/ 0 h 4563048"/>
                <a:gd name="connsiteX1-199" fmla="*/ 3575410 w 3626875"/>
                <a:gd name="connsiteY1-200" fmla="*/ 0 h 4563048"/>
                <a:gd name="connsiteX2-201" fmla="*/ 3626875 w 3626875"/>
                <a:gd name="connsiteY2-202" fmla="*/ 51465 h 4563048"/>
                <a:gd name="connsiteX3-203" fmla="*/ 3626875 w 3626875"/>
                <a:gd name="connsiteY3-204" fmla="*/ 4511583 h 4563048"/>
                <a:gd name="connsiteX4-205" fmla="*/ 3575410 w 3626875"/>
                <a:gd name="connsiteY4-206" fmla="*/ 4563048 h 4563048"/>
                <a:gd name="connsiteX5-207" fmla="*/ 51465 w 3626875"/>
                <a:gd name="connsiteY5-208" fmla="*/ 4563048 h 4563048"/>
                <a:gd name="connsiteX6-209" fmla="*/ 0 w 3626875"/>
                <a:gd name="connsiteY6-210" fmla="*/ 4511583 h 4563048"/>
                <a:gd name="connsiteX7-211" fmla="*/ 0 w 3626875"/>
                <a:gd name="connsiteY7-212" fmla="*/ 51465 h 4563048"/>
                <a:gd name="connsiteX8-213" fmla="*/ 51465 w 3626875"/>
                <a:gd name="connsiteY8-214" fmla="*/ 0 h 4563048"/>
                <a:gd name="connsiteX9-215" fmla="*/ 275535 w 3626875"/>
                <a:gd name="connsiteY9-216" fmla="*/ 240515 h 4563048"/>
                <a:gd name="connsiteX10-217" fmla="*/ 279550 w 3626875"/>
                <a:gd name="connsiteY10-218" fmla="*/ 3884310 h 4563048"/>
                <a:gd name="connsiteX11-219" fmla="*/ 3353996 w 3626875"/>
                <a:gd name="connsiteY11-220" fmla="*/ 3898684 h 4563048"/>
                <a:gd name="connsiteX12-221" fmla="*/ 3351269 w 3626875"/>
                <a:gd name="connsiteY12-222" fmla="*/ 282996 h 4563048"/>
                <a:gd name="connsiteX13-223" fmla="*/ 275535 w 3626875"/>
                <a:gd name="connsiteY13-224" fmla="*/ 240515 h 45630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3626875" h="4563048">
                  <a:moveTo>
                    <a:pt x="51465" y="0"/>
                  </a:moveTo>
                  <a:lnTo>
                    <a:pt x="3575410" y="0"/>
                  </a:lnTo>
                  <a:cubicBezTo>
                    <a:pt x="3603833" y="0"/>
                    <a:pt x="3626875" y="23042"/>
                    <a:pt x="3626875" y="51465"/>
                  </a:cubicBezTo>
                  <a:lnTo>
                    <a:pt x="3626875" y="4511583"/>
                  </a:lnTo>
                  <a:cubicBezTo>
                    <a:pt x="3626875" y="4540006"/>
                    <a:pt x="3603833" y="4563048"/>
                    <a:pt x="3575410" y="4563048"/>
                  </a:cubicBezTo>
                  <a:lnTo>
                    <a:pt x="51465" y="4563048"/>
                  </a:lnTo>
                  <a:cubicBezTo>
                    <a:pt x="23042" y="4563048"/>
                    <a:pt x="0" y="4540006"/>
                    <a:pt x="0" y="4511583"/>
                  </a:cubicBezTo>
                  <a:lnTo>
                    <a:pt x="0" y="51465"/>
                  </a:lnTo>
                  <a:cubicBezTo>
                    <a:pt x="0" y="23042"/>
                    <a:pt x="23042" y="0"/>
                    <a:pt x="51465" y="0"/>
                  </a:cubicBezTo>
                  <a:close/>
                  <a:moveTo>
                    <a:pt x="275535" y="240515"/>
                  </a:moveTo>
                  <a:cubicBezTo>
                    <a:pt x="275607" y="1478642"/>
                    <a:pt x="279478" y="2646183"/>
                    <a:pt x="279550" y="3884310"/>
                  </a:cubicBezTo>
                  <a:lnTo>
                    <a:pt x="3353996" y="3898684"/>
                  </a:lnTo>
                  <a:cubicBezTo>
                    <a:pt x="3351581" y="2660665"/>
                    <a:pt x="3353684" y="1521015"/>
                    <a:pt x="3351269" y="282996"/>
                  </a:cubicBezTo>
                  <a:lnTo>
                    <a:pt x="275535" y="240515"/>
                  </a:lnTo>
                  <a:close/>
                </a:path>
              </a:pathLst>
            </a:custGeom>
            <a:solidFill>
              <a:schemeClr val="lt1">
                <a:lumMod val="100000"/>
              </a:schemeClr>
            </a:solidFill>
            <a:ln>
              <a:noFill/>
            </a:ln>
            <a:effectLst>
              <a:outerShdw blurRad="152400" dist="38100" dir="2700000" algn="tl" rotWithShape="0">
                <a:prstClr val="black">
                  <a:alpha val="24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grpSp>
        <p:nvGrpSpPr>
          <p:cNvPr id="15" name="组合 14"/>
          <p:cNvGrpSpPr/>
          <p:nvPr/>
        </p:nvGrpSpPr>
        <p:grpSpPr>
          <a:xfrm>
            <a:off x="1246505" y="1132205"/>
            <a:ext cx="2433955" cy="3033395"/>
            <a:chOff x="1153" y="1826"/>
            <a:chExt cx="5962" cy="6302"/>
          </a:xfrm>
        </p:grpSpPr>
        <p:sp>
          <p:nvSpPr>
            <p:cNvPr id="11" name="矩形 10"/>
            <p:cNvSpPr/>
            <p:nvPr>
              <p:custDataLst>
                <p:tags r:id="rId5"/>
              </p:custDataLst>
            </p:nvPr>
          </p:nvSpPr>
          <p:spPr>
            <a:xfrm>
              <a:off x="1153" y="1826"/>
              <a:ext cx="5962" cy="3005"/>
            </a:xfrm>
            <a:prstGeom prst="rect">
              <a:avLst/>
            </a:prstGeom>
            <a:solidFill>
              <a:srgbClr val="C716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dirty="0"/>
            </a:p>
          </p:txBody>
        </p:sp>
        <p:sp>
          <p:nvSpPr>
            <p:cNvPr id="12" name="矩形 11"/>
            <p:cNvSpPr/>
            <p:nvPr>
              <p:custDataLst>
                <p:tags r:id="rId6"/>
              </p:custDataLst>
            </p:nvPr>
          </p:nvSpPr>
          <p:spPr>
            <a:xfrm>
              <a:off x="1570" y="2449"/>
              <a:ext cx="4763" cy="1826"/>
            </a:xfrm>
            <a:prstGeom prst="rect">
              <a:avLst/>
            </a:prstGeom>
            <a:noFill/>
          </p:spPr>
          <p:txBody>
            <a:bodyPr wrap="square" lIns="0" tIns="0" rIns="0" bIns="0" rtlCol="0" anchor="t" anchorCtr="0">
              <a:noAutofit/>
            </a:bodyPr>
            <a:p>
              <a:pPr algn="ctr">
                <a:lnSpc>
                  <a:spcPct val="150000"/>
                </a:lnSpc>
                <a:spcBef>
                  <a:spcPct val="0"/>
                </a:spcBef>
                <a:spcAft>
                  <a:spcPct val="0"/>
                </a:spcAft>
              </a:pPr>
              <a:r>
                <a:rPr lang="zh-CN" altLang="en-US" sz="1800" kern="0" dirty="0">
                  <a:solidFill>
                    <a:schemeClr val="lt1">
                      <a:lumMod val="100000"/>
                    </a:schemeClr>
                  </a:solidFill>
                  <a:latin typeface="微软雅黑" panose="020B0503020204020204" charset="-122"/>
                  <a:ea typeface="微软雅黑" panose="020B0503020204020204" charset="-122"/>
                  <a:cs typeface="微软雅黑" panose="020B0503020204020204" charset="-122"/>
                </a:rPr>
                <a:t>张瑞</a:t>
              </a:r>
              <a:r>
                <a:rPr lang="en-US" altLang="zh-CN" sz="1800" kern="0" dirty="0">
                  <a:solidFill>
                    <a:schemeClr val="lt1">
                      <a:lumMod val="100000"/>
                    </a:schemeClr>
                  </a:solidFill>
                  <a:latin typeface="微软雅黑" panose="020B0503020204020204" charset="-122"/>
                  <a:ea typeface="微软雅黑" panose="020B0503020204020204" charset="-122"/>
                  <a:cs typeface="微软雅黑" panose="020B0503020204020204" charset="-122"/>
                </a:rPr>
                <a:t>13907110017</a:t>
              </a:r>
              <a:r>
                <a:rPr lang="zh-CN" altLang="en-US" sz="1800" kern="0" dirty="0">
                  <a:solidFill>
                    <a:schemeClr val="lt1">
                      <a:lumMod val="100000"/>
                    </a:schemeClr>
                  </a:solidFill>
                  <a:latin typeface="微软雅黑" panose="020B0503020204020204" charset="-122"/>
                  <a:ea typeface="微软雅黑" panose="020B0503020204020204" charset="-122"/>
                  <a:cs typeface="微软雅黑" panose="020B0503020204020204" charset="-122"/>
                </a:rPr>
                <a:t>4</a:t>
              </a:r>
              <a:endParaRPr lang="zh-CN" altLang="en-US" sz="1800" kern="0" dirty="0">
                <a:solidFill>
                  <a:schemeClr val="lt1">
                    <a:lumMod val="100000"/>
                  </a:schemeClr>
                </a:solidFill>
                <a:latin typeface="微软雅黑" panose="020B0503020204020204" charset="-122"/>
                <a:ea typeface="微软雅黑" panose="020B0503020204020204" charset="-122"/>
                <a:cs typeface="微软雅黑" panose="020B0503020204020204" charset="-122"/>
              </a:endParaRPr>
            </a:p>
          </p:txBody>
        </p:sp>
        <p:sp>
          <p:nvSpPr>
            <p:cNvPr id="13" name="矩形 12"/>
            <p:cNvSpPr/>
            <p:nvPr>
              <p:custDataLst>
                <p:tags r:id="rId7"/>
              </p:custDataLst>
            </p:nvPr>
          </p:nvSpPr>
          <p:spPr>
            <a:xfrm>
              <a:off x="1153" y="5123"/>
              <a:ext cx="5962" cy="3005"/>
            </a:xfrm>
            <a:prstGeom prst="rect">
              <a:avLst/>
            </a:prstGeom>
            <a:noFill/>
            <a:ln w="9525">
              <a:solidFill>
                <a:srgbClr val="C7161C">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dirty="0"/>
            </a:p>
          </p:txBody>
        </p:sp>
        <p:sp>
          <p:nvSpPr>
            <p:cNvPr id="16" name="矩形 15"/>
            <p:cNvSpPr/>
            <p:nvPr>
              <p:custDataLst>
                <p:tags r:id="rId8"/>
              </p:custDataLst>
            </p:nvPr>
          </p:nvSpPr>
          <p:spPr>
            <a:xfrm>
              <a:off x="1690" y="6089"/>
              <a:ext cx="4643" cy="934"/>
            </a:xfrm>
            <a:prstGeom prst="rect">
              <a:avLst/>
            </a:prstGeom>
            <a:noFill/>
          </p:spPr>
          <p:txBody>
            <a:bodyPr wrap="square" lIns="0" tIns="0" rIns="0" bIns="0" rtlCol="0" anchor="b">
              <a:noAutofit/>
            </a:bodyPr>
            <a:p>
              <a:pPr algn="ctr">
                <a:spcBef>
                  <a:spcPct val="0"/>
                </a:spcBef>
                <a:spcAft>
                  <a:spcPct val="0"/>
                </a:spcAft>
              </a:pPr>
              <a:r>
                <a:rPr lang="zh-CN" altLang="en-US" sz="2400" b="1" kern="0" dirty="0">
                  <a:solidFill>
                    <a:schemeClr val="tx1"/>
                  </a:solidFill>
                  <a:latin typeface="微软雅黑" panose="020B0503020204020204" charset="-122"/>
                  <a:ea typeface="微软雅黑" panose="020B0503020204020204" charset="-122"/>
                  <a:cs typeface="+mn-ea"/>
                </a:rPr>
                <a:t>欢迎随时咨询</a:t>
              </a:r>
              <a:endParaRPr lang="zh-CN" altLang="en-US" sz="2400" b="1" kern="0" dirty="0">
                <a:solidFill>
                  <a:schemeClr val="tx1"/>
                </a:solidFill>
                <a:latin typeface="微软雅黑" panose="020B0503020204020204" charset="-122"/>
                <a:ea typeface="微软雅黑" panose="020B0503020204020204" charset="-122"/>
                <a:cs typeface="+mn-ea"/>
              </a:endParaRPr>
            </a:p>
          </p:txBody>
        </p:sp>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2" name="Shape1"/>
          <p:cNvSpPr/>
          <p:nvPr/>
        </p:nvSpPr>
        <p:spPr>
          <a:xfrm rot="17882113" flipH="1">
            <a:off x="-1914221" y="661306"/>
            <a:ext cx="5348278" cy="3704140"/>
          </a:xfrm>
          <a:custGeom>
            <a:avLst/>
            <a:gdLst>
              <a:gd name="connsiteX0" fmla="*/ 1083810 w 7131037"/>
              <a:gd name="connsiteY0" fmla="*/ 0 h 4938853"/>
              <a:gd name="connsiteX1" fmla="*/ 0 w 7131037"/>
              <a:gd name="connsiteY1" fmla="*/ 2035332 h 4938853"/>
              <a:gd name="connsiteX2" fmla="*/ 100465 w 7131037"/>
              <a:gd name="connsiteY2" fmla="*/ 2136288 h 4938853"/>
              <a:gd name="connsiteX3" fmla="*/ 654764 w 7131037"/>
              <a:gd name="connsiteY3" fmla="*/ 2506857 h 4938853"/>
              <a:gd name="connsiteX4" fmla="*/ 3360401 w 7131037"/>
              <a:gd name="connsiteY4" fmla="*/ 2563592 h 4938853"/>
              <a:gd name="connsiteX5" fmla="*/ 5283416 w 7131037"/>
              <a:gd name="connsiteY5" fmla="*/ 4738430 h 4938853"/>
              <a:gd name="connsiteX6" fmla="*/ 6032094 w 7131037"/>
              <a:gd name="connsiteY6" fmla="*/ 4913222 h 4938853"/>
              <a:gd name="connsiteX7" fmla="*/ 6215824 w 7131037"/>
              <a:gd name="connsiteY7" fmla="*/ 4938853 h 4938853"/>
              <a:gd name="connsiteX8" fmla="*/ 7131037 w 7131037"/>
              <a:gd name="connsiteY8" fmla="*/ 3220137 h 4938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1037" h="4938853">
                <a:moveTo>
                  <a:pt x="1083810" y="0"/>
                </a:moveTo>
                <a:lnTo>
                  <a:pt x="0" y="2035332"/>
                </a:lnTo>
                <a:lnTo>
                  <a:pt x="100465" y="2136288"/>
                </a:lnTo>
                <a:cubicBezTo>
                  <a:pt x="261170" y="2287443"/>
                  <a:pt x="444574" y="2417973"/>
                  <a:pt x="654764" y="2506857"/>
                </a:cubicBezTo>
                <a:cubicBezTo>
                  <a:pt x="1495524" y="2862396"/>
                  <a:pt x="2434671" y="2117278"/>
                  <a:pt x="3360401" y="2563592"/>
                </a:cubicBezTo>
                <a:cubicBezTo>
                  <a:pt x="4286132" y="3009907"/>
                  <a:pt x="4120663" y="4356415"/>
                  <a:pt x="5283416" y="4738430"/>
                </a:cubicBezTo>
                <a:cubicBezTo>
                  <a:pt x="5501433" y="4810058"/>
                  <a:pt x="5757183" y="4869053"/>
                  <a:pt x="6032094" y="4913222"/>
                </a:cubicBezTo>
                <a:lnTo>
                  <a:pt x="6215824" y="4938853"/>
                </a:lnTo>
                <a:lnTo>
                  <a:pt x="7131037" y="322013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23" name="Shape2"/>
          <p:cNvSpPr/>
          <p:nvPr/>
        </p:nvSpPr>
        <p:spPr>
          <a:xfrm>
            <a:off x="2211422" y="1591535"/>
            <a:ext cx="1960433" cy="1960431"/>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a:latin typeface="汉仪旗黑X1-55W" panose="00020600040101010101" pitchFamily="18" charset="-122"/>
              <a:ea typeface="汉仪旗黑X1-55W" panose="00020600040101010101" pitchFamily="18" charset="-122"/>
              <a:cs typeface="汉仪润圆-65简" panose="00020600040101010101" pitchFamily="18" charset="-122"/>
              <a:sym typeface="汉仪旗黑X1-55W" panose="00020600040101010101" pitchFamily="18" charset="-122"/>
            </a:endParaRPr>
          </a:p>
        </p:txBody>
      </p:sp>
      <p:sp>
        <p:nvSpPr>
          <p:cNvPr id="1048624" name="Shape3"/>
          <p:cNvSpPr/>
          <p:nvPr/>
        </p:nvSpPr>
        <p:spPr>
          <a:xfrm>
            <a:off x="2357732" y="1759300"/>
            <a:ext cx="1667813" cy="1667813"/>
          </a:xfrm>
          <a:prstGeom prst="ellipse">
            <a:avLst/>
          </a:prstGeom>
          <a:solidFill>
            <a:schemeClr val="accent1"/>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90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625" name="Shape4"/>
          <p:cNvSpPr txBox="1"/>
          <p:nvPr/>
        </p:nvSpPr>
        <p:spPr>
          <a:xfrm>
            <a:off x="2715010" y="2190875"/>
            <a:ext cx="953255" cy="783590"/>
          </a:xfrm>
          <a:prstGeom prst="rect">
            <a:avLst/>
          </a:prstGeom>
          <a:noFill/>
        </p:spPr>
        <p:txBody>
          <a:bodyPr wrap="square" rtlCol="0">
            <a:spAutoFit/>
          </a:bodyPr>
          <a:lstStyle/>
          <a:p>
            <a:pPr algn="ctr"/>
            <a:r>
              <a:rPr lang="en-US" altLang="zh-CN" sz="4500" dirty="0">
                <a:solidFill>
                  <a:schemeClr val="bg1"/>
                </a:solidFill>
                <a:latin typeface="汉仪旗黑X1-95W" panose="00020600040101010101" pitchFamily="18" charset="-122"/>
                <a:ea typeface="汉仪旗黑X1-95W" panose="00020600040101010101" pitchFamily="18" charset="-122"/>
                <a:sym typeface="汉仪旗黑X1-55W" panose="00020600040101010101" pitchFamily="18" charset="-122"/>
              </a:rPr>
              <a:t>01</a:t>
            </a:r>
            <a:endParaRPr lang="zh-CN" altLang="en-US" sz="4500" dirty="0">
              <a:solidFill>
                <a:schemeClr val="bg1"/>
              </a:solidFill>
              <a:latin typeface="汉仪旗黑X1-95W" panose="00020600040101010101" pitchFamily="18" charset="-122"/>
              <a:ea typeface="汉仪旗黑X1-95W" panose="00020600040101010101" pitchFamily="18" charset="-122"/>
              <a:sym typeface="汉仪旗黑X1-55W" panose="00020600040101010101" pitchFamily="18" charset="-122"/>
            </a:endParaRPr>
          </a:p>
        </p:txBody>
      </p:sp>
      <p:sp>
        <p:nvSpPr>
          <p:cNvPr id="1048626" name="Shape5"/>
          <p:cNvSpPr txBox="1"/>
          <p:nvPr/>
        </p:nvSpPr>
        <p:spPr>
          <a:xfrm>
            <a:off x="4622113" y="1599363"/>
            <a:ext cx="2281372" cy="460375"/>
          </a:xfrm>
          <a:prstGeom prst="rect">
            <a:avLst/>
          </a:prstGeom>
          <a:noFill/>
        </p:spPr>
        <p:txBody>
          <a:bodyPr wrap="square" rtlCol="0">
            <a:spAutoFit/>
            <a:scene3d>
              <a:camera prst="orthographicFront"/>
              <a:lightRig rig="threePt" dir="t"/>
            </a:scene3d>
            <a:sp3d contourW="12700"/>
          </a:bodyPr>
          <a:lstStyle/>
          <a:p>
            <a:r>
              <a:rPr lang="zh-CN" altLang="en-US" sz="2400" b="1">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东方大地简介</a:t>
            </a:r>
            <a:endParaRPr lang="zh-CN" altLang="en-US" sz="2400" b="1" dirty="0">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27" name="Shape6"/>
          <p:cNvSpPr/>
          <p:nvPr/>
        </p:nvSpPr>
        <p:spPr>
          <a:xfrm>
            <a:off x="4653863" y="2019640"/>
            <a:ext cx="2700569" cy="252730"/>
          </a:xfrm>
          <a:prstGeom prst="rect">
            <a:avLst/>
          </a:prstGeom>
        </p:spPr>
        <p:txBody>
          <a:bodyPr wrap="square">
            <a:spAutoFit/>
          </a:bodyPr>
          <a:lstStyle/>
          <a:p>
            <a:pPr algn="l"/>
            <a:r>
              <a:rPr lang="zh-CN" altLang="en-US" sz="1050" i="1" kern="100" dirty="0">
                <a:solidFill>
                  <a:schemeClr val="bg1">
                    <a:lumMod val="50000"/>
                  </a:schemeClr>
                </a:solidFill>
                <a:latin typeface="汉仪旗黑X1-55W" panose="00020600040101010101" pitchFamily="18" charset="-122"/>
                <a:ea typeface="汉仪旗黑X1-55W" panose="00020600040101010101" pitchFamily="18" charset="-122"/>
                <a:cs typeface="Times New Roman" panose="02020603050405020304" pitchFamily="18" charset="0"/>
                <a:sym typeface="微软雅黑" panose="020B0503020204020204" charset="-122"/>
              </a:rPr>
              <a:t>第一批全国性保险经纪公司</a:t>
            </a:r>
            <a:endParaRPr lang="zh-CN" altLang="en-US" sz="1050" i="1"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28" name="Shape7"/>
          <p:cNvSpPr txBox="1"/>
          <p:nvPr/>
        </p:nvSpPr>
        <p:spPr>
          <a:xfrm>
            <a:off x="4641562" y="2416932"/>
            <a:ext cx="3195052" cy="694055"/>
          </a:xfrm>
          <a:prstGeom prst="rect">
            <a:avLst/>
          </a:prstGeom>
        </p:spPr>
        <p:txBody>
          <a:bodyPr wrap="square">
            <a:spAutoFit/>
          </a:bodyPr>
          <a:lstStyle>
            <a:defPPr>
              <a:defRPr lang="zh-CN"/>
            </a:defPPr>
            <a:lvl1pPr defTabSz="457200">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marL="171450" indent="-171450">
              <a:lnSpc>
                <a:spcPct val="200000"/>
              </a:lnSpc>
              <a:buFont typeface="Wingdings" panose="05000000000000000000" charset="0"/>
              <a:buChar char="u"/>
            </a:pPr>
            <a:r>
              <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微软雅黑" panose="020B0503020204020204" charset="-122"/>
              </a:rPr>
              <a:t>直接保险经纪业务、再保险经纪业务和咨询业务</a:t>
            </a:r>
            <a:endPar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微软雅黑" panose="020B0503020204020204" charset="-122"/>
            </a:endParaRPr>
          </a:p>
          <a:p>
            <a:pPr marL="171450" indent="-171450">
              <a:lnSpc>
                <a:spcPct val="200000"/>
              </a:lnSpc>
              <a:buFont typeface="Wingdings" panose="05000000000000000000" charset="0"/>
              <a:buChar char="u"/>
            </a:pPr>
            <a:r>
              <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微软雅黑" panose="020B0503020204020204" charset="-122"/>
              </a:rPr>
              <a:t>产险及寿险产品定制、协助理赔</a:t>
            </a:r>
            <a:endPar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endParaRPr>
          </a:p>
        </p:txBody>
      </p:sp>
    </p:spTree>
  </p:cSld>
  <p:clrMapOvr>
    <a:masterClrMapping/>
  </p:clrMapOvr>
  <p:timing>
    <p:tnLst>
      <p:par>
        <p:cTn id="1" dur="indefinite" restart="never" nodeType="tmRoot"/>
      </p:par>
    </p:tnLst>
    <p:bldLst>
      <p:bldP spid="1048627" grpId="0"/>
      <p:bldP spid="104862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Slide" r:id="rId2" imgW="8255" imgH="8255" progId="TCLayout.ActiveDocument.1">
                  <p:embed/>
                </p:oleObj>
              </mc:Choice>
              <mc:Fallback>
                <p:oleObj name="think-cell Slide" r:id="rId2" imgW="8255" imgH="825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5" name="Isosceles Triangle 14"/>
          <p:cNvSpPr/>
          <p:nvPr/>
        </p:nvSpPr>
        <p:spPr>
          <a:xfrm rot="5400000">
            <a:off x="1005686" y="1202011"/>
            <a:ext cx="5143076" cy="273991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zh-CN" altLang="en-US"/>
          </a:p>
        </p:txBody>
      </p:sp>
      <p:sp>
        <p:nvSpPr>
          <p:cNvPr id="18" name="Rectangle 17"/>
          <p:cNvSpPr/>
          <p:nvPr/>
        </p:nvSpPr>
        <p:spPr>
          <a:xfrm>
            <a:off x="1032610" y="425"/>
            <a:ext cx="1174659" cy="514307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zh-CN" altLang="en-US"/>
          </a:p>
        </p:txBody>
      </p:sp>
      <p:sp>
        <p:nvSpPr>
          <p:cNvPr id="6150" name="标题 3"/>
          <p:cNvSpPr>
            <a:spLocks noGrp="1"/>
          </p:cNvSpPr>
          <p:nvPr>
            <p:ph type="ctrTitle"/>
          </p:nvPr>
        </p:nvSpPr>
        <p:spPr>
          <a:xfrm>
            <a:off x="5441721" y="625056"/>
            <a:ext cx="3209290" cy="1790700"/>
          </a:xfrm>
        </p:spPr>
        <p:txBody>
          <a:bodyPr vert="horz" wrap="square" lIns="0" tIns="0" rIns="0" bIns="0" anchor="b" anchorCtr="0">
            <a:noAutofit/>
          </a:bodyPr>
          <a:lstStyle/>
          <a:p>
            <a:pPr marL="0" indent="0" algn="ctr" defTabSz="0">
              <a:spcAft>
                <a:spcPct val="0"/>
              </a:spcAft>
              <a:buClrTx/>
              <a:buSzPct val="100000"/>
              <a:buFontTx/>
              <a:buNone/>
            </a:pPr>
            <a:r>
              <a:rPr lang="zh-CN" altLang="en-US" sz="4400" b="1" kern="1200" baseline="0" dirty="0">
                <a:solidFill>
                  <a:srgbClr val="C00000"/>
                </a:solidFill>
                <a:latin typeface="微软雅黑" panose="020B0503020204020204" charset="-122"/>
                <a:ea typeface="微软雅黑" panose="020B0503020204020204" charset="-122"/>
                <a:sym typeface="Arial" panose="020B0604020202020204" pitchFamily="34" charset="0"/>
              </a:rPr>
              <a:t>谢谢</a:t>
            </a:r>
            <a:endParaRPr lang="zh-CN" altLang="en-US" sz="4400" b="1" kern="1200" baseline="0" dirty="0">
              <a:solidFill>
                <a:srgbClr val="C00000"/>
              </a:solidFill>
              <a:latin typeface="微软雅黑" panose="020B0503020204020204" charset="-122"/>
              <a:ea typeface="微软雅黑" panose="020B0503020204020204" charset="-122"/>
              <a:sym typeface="Arial" panose="020B0604020202020204" pitchFamily="34" charset="0"/>
            </a:endParaRPr>
          </a:p>
        </p:txBody>
      </p:sp>
      <p:sp>
        <p:nvSpPr>
          <p:cNvPr id="4" name="TextBox 2"/>
          <p:cNvSpPr txBox="1"/>
          <p:nvPr/>
        </p:nvSpPr>
        <p:spPr>
          <a:xfrm>
            <a:off x="5441721" y="2748961"/>
            <a:ext cx="871508" cy="461665"/>
          </a:xfrm>
          <a:prstGeom prst="rect">
            <a:avLst/>
          </a:prstGeom>
        </p:spPr>
        <p:txBody>
          <a:bodyPr vert="horz" wrap="square" lIns="91440" tIns="45720" rIns="91440" bIns="45720" rtlCol="0" anchor="t" anchorCtr="0">
            <a:noAutofit/>
          </a:bodyPr>
          <a:lstStyle>
            <a:lvl1pPr marL="342900" indent="-342900">
              <a:spcBef>
                <a:spcPct val="20000"/>
              </a:spcBef>
              <a:buChar char="•"/>
              <a:defRPr sz="1400">
                <a:latin typeface="+mn-lt"/>
                <a:ea typeface="+mn-ea"/>
                <a:sym typeface="Calibri" panose="020F0502020204030204" charset="0"/>
              </a:defRPr>
            </a:lvl1pPr>
            <a:lvl2pPr marL="742950" indent="-285750">
              <a:spcBef>
                <a:spcPct val="20000"/>
              </a:spcBef>
              <a:buChar char="–"/>
              <a:defRPr sz="1400">
                <a:latin typeface="Calibri" panose="020F0502020204030204" charset="0"/>
                <a:sym typeface="Calibri" panose="020F0502020204030204" charset="0"/>
              </a:defRPr>
            </a:lvl2pPr>
            <a:lvl3pPr marL="1143000" indent="-228600">
              <a:spcBef>
                <a:spcPct val="20000"/>
              </a:spcBef>
              <a:buChar char="•"/>
              <a:defRPr sz="1400">
                <a:latin typeface="Calibri" panose="020F0502020204030204" charset="0"/>
                <a:sym typeface="Calibri" panose="020F0502020204030204" charset="0"/>
              </a:defRPr>
            </a:lvl3pPr>
            <a:lvl4pPr marL="1600200" indent="-228600">
              <a:spcBef>
                <a:spcPct val="20000"/>
              </a:spcBef>
              <a:buChar char="–"/>
              <a:defRPr sz="1400">
                <a:latin typeface="Calibri" panose="020F0502020204030204" charset="0"/>
                <a:sym typeface="Calibri" panose="020F0502020204030204" charset="0"/>
              </a:defRPr>
            </a:lvl4pPr>
            <a:lvl5pPr marL="2057400" indent="-228600">
              <a:spcBef>
                <a:spcPct val="20000"/>
              </a:spcBef>
              <a:buChar char="»"/>
              <a:defRPr sz="1400">
                <a:latin typeface="Calibri" panose="020F0502020204030204" charset="0"/>
                <a:sym typeface="Calibri" panose="020F0502020204030204" charset="0"/>
              </a:defRPr>
            </a:lvl5pPr>
            <a:lvl6pPr marL="2514600" indent="-228600">
              <a:spcBef>
                <a:spcPct val="20000"/>
              </a:spcBef>
              <a:buChar char="»"/>
              <a:defRPr sz="2000">
                <a:latin typeface="Calibri" panose="020F0502020204030204" charset="0"/>
                <a:sym typeface="Calibri" panose="020F0502020204030204" charset="0"/>
              </a:defRPr>
            </a:lvl6pPr>
            <a:lvl7pPr marL="2971800" indent="-228600">
              <a:spcBef>
                <a:spcPct val="20000"/>
              </a:spcBef>
              <a:buChar char="»"/>
              <a:defRPr sz="2000">
                <a:latin typeface="Calibri" panose="020F0502020204030204" charset="0"/>
                <a:sym typeface="Calibri" panose="020F0502020204030204" charset="0"/>
              </a:defRPr>
            </a:lvl7pPr>
            <a:lvl8pPr marL="3429000" indent="-228600">
              <a:spcBef>
                <a:spcPct val="20000"/>
              </a:spcBef>
              <a:buChar char="»"/>
              <a:defRPr sz="2000">
                <a:latin typeface="Calibri" panose="020F0502020204030204" charset="0"/>
                <a:sym typeface="Calibri" panose="020F0502020204030204" charset="0"/>
              </a:defRPr>
            </a:lvl8pPr>
            <a:lvl9pPr marL="3886200" indent="-228600">
              <a:spcBef>
                <a:spcPct val="20000"/>
              </a:spcBef>
              <a:buChar char="»"/>
              <a:defRPr sz="2000">
                <a:latin typeface="Calibri" panose="020F0502020204030204" charset="0"/>
                <a:sym typeface="Calibri" panose="020F0502020204030204" charset="0"/>
              </a:defRPr>
            </a:lvl9pPr>
          </a:lstStyle>
          <a:p>
            <a:pPr marL="0" indent="0" algn="ctr">
              <a:buNone/>
            </a:pPr>
            <a:r>
              <a:rPr lang="zh-CN" altLang="en-US" sz="2400" b="1" dirty="0"/>
              <a:t>专业</a:t>
            </a:r>
            <a:endParaRPr lang="zh-CN" altLang="en-US" sz="2400" b="1" dirty="0"/>
          </a:p>
        </p:txBody>
      </p:sp>
      <p:sp>
        <p:nvSpPr>
          <p:cNvPr id="5" name="TextBox 4"/>
          <p:cNvSpPr txBox="1"/>
          <p:nvPr/>
        </p:nvSpPr>
        <p:spPr>
          <a:xfrm>
            <a:off x="6610612" y="2748961"/>
            <a:ext cx="871508" cy="460375"/>
          </a:xfrm>
          <a:prstGeom prst="rect">
            <a:avLst/>
          </a:prstGeom>
        </p:spPr>
        <p:txBody>
          <a:bodyPr vert="horz" wrap="square" lIns="91440" tIns="45720" rIns="91440" bIns="45720" rtlCol="0" anchor="t" anchorCtr="0">
            <a:spAutoFit/>
          </a:bodyPr>
          <a:lstStyle>
            <a:lvl1pPr marL="342900" indent="-342900">
              <a:spcBef>
                <a:spcPct val="20000"/>
              </a:spcBef>
              <a:buChar char="•"/>
              <a:defRPr sz="1400">
                <a:latin typeface="+mn-lt"/>
                <a:ea typeface="+mn-ea"/>
                <a:sym typeface="Calibri" panose="020F0502020204030204" charset="0"/>
              </a:defRPr>
            </a:lvl1pPr>
            <a:lvl2pPr marL="742950" indent="-285750">
              <a:spcBef>
                <a:spcPct val="20000"/>
              </a:spcBef>
              <a:buChar char="–"/>
              <a:defRPr sz="1400">
                <a:latin typeface="Calibri" panose="020F0502020204030204" charset="0"/>
                <a:sym typeface="Calibri" panose="020F0502020204030204" charset="0"/>
              </a:defRPr>
            </a:lvl2pPr>
            <a:lvl3pPr marL="1143000" indent="-228600">
              <a:spcBef>
                <a:spcPct val="20000"/>
              </a:spcBef>
              <a:buChar char="•"/>
              <a:defRPr sz="1400">
                <a:latin typeface="Calibri" panose="020F0502020204030204" charset="0"/>
                <a:sym typeface="Calibri" panose="020F0502020204030204" charset="0"/>
              </a:defRPr>
            </a:lvl3pPr>
            <a:lvl4pPr marL="1600200" indent="-228600">
              <a:spcBef>
                <a:spcPct val="20000"/>
              </a:spcBef>
              <a:buChar char="–"/>
              <a:defRPr sz="1400">
                <a:latin typeface="Calibri" panose="020F0502020204030204" charset="0"/>
                <a:sym typeface="Calibri" panose="020F0502020204030204" charset="0"/>
              </a:defRPr>
            </a:lvl4pPr>
            <a:lvl5pPr marL="2057400" indent="-228600">
              <a:spcBef>
                <a:spcPct val="20000"/>
              </a:spcBef>
              <a:buChar char="»"/>
              <a:defRPr sz="1400">
                <a:latin typeface="Calibri" panose="020F0502020204030204" charset="0"/>
                <a:sym typeface="Calibri" panose="020F0502020204030204" charset="0"/>
              </a:defRPr>
            </a:lvl5pPr>
            <a:lvl6pPr marL="2514600" indent="-228600">
              <a:spcBef>
                <a:spcPct val="20000"/>
              </a:spcBef>
              <a:buChar char="»"/>
              <a:defRPr sz="2000">
                <a:latin typeface="Calibri" panose="020F0502020204030204" charset="0"/>
                <a:sym typeface="Calibri" panose="020F0502020204030204" charset="0"/>
              </a:defRPr>
            </a:lvl6pPr>
            <a:lvl7pPr marL="2971800" indent="-228600">
              <a:spcBef>
                <a:spcPct val="20000"/>
              </a:spcBef>
              <a:buChar char="»"/>
              <a:defRPr sz="2000">
                <a:latin typeface="Calibri" panose="020F0502020204030204" charset="0"/>
                <a:sym typeface="Calibri" panose="020F0502020204030204" charset="0"/>
              </a:defRPr>
            </a:lvl7pPr>
            <a:lvl8pPr marL="3429000" indent="-228600">
              <a:spcBef>
                <a:spcPct val="20000"/>
              </a:spcBef>
              <a:buChar char="»"/>
              <a:defRPr sz="2000">
                <a:latin typeface="Calibri" panose="020F0502020204030204" charset="0"/>
                <a:sym typeface="Calibri" panose="020F0502020204030204" charset="0"/>
              </a:defRPr>
            </a:lvl8pPr>
            <a:lvl9pPr marL="3886200" indent="-228600">
              <a:spcBef>
                <a:spcPct val="20000"/>
              </a:spcBef>
              <a:buChar char="»"/>
              <a:defRPr sz="2000">
                <a:latin typeface="Calibri" panose="020F0502020204030204" charset="0"/>
                <a:sym typeface="Calibri" panose="020F0502020204030204" charset="0"/>
              </a:defRPr>
            </a:lvl9pPr>
          </a:lstStyle>
          <a:p>
            <a:pPr marL="0" indent="0" algn="ctr">
              <a:buNone/>
            </a:pPr>
            <a:r>
              <a:rPr lang="zh-CN" altLang="en-US" sz="2400" b="1" dirty="0"/>
              <a:t>至简</a:t>
            </a:r>
            <a:endParaRPr lang="zh-CN" altLang="en-US" sz="2400" b="1" dirty="0"/>
          </a:p>
        </p:txBody>
      </p:sp>
      <p:sp>
        <p:nvSpPr>
          <p:cNvPr id="6" name="TextBox 5"/>
          <p:cNvSpPr txBox="1"/>
          <p:nvPr/>
        </p:nvSpPr>
        <p:spPr>
          <a:xfrm>
            <a:off x="7779503" y="2748961"/>
            <a:ext cx="871508" cy="460375"/>
          </a:xfrm>
          <a:prstGeom prst="rect">
            <a:avLst/>
          </a:prstGeom>
        </p:spPr>
        <p:txBody>
          <a:bodyPr vert="horz" wrap="square" lIns="91440" tIns="45720" rIns="91440" bIns="45720" rtlCol="0" anchor="t" anchorCtr="0">
            <a:spAutoFit/>
          </a:bodyPr>
          <a:lstStyle>
            <a:lvl1pPr marL="342900" indent="-342900">
              <a:spcBef>
                <a:spcPct val="20000"/>
              </a:spcBef>
              <a:buChar char="•"/>
              <a:defRPr sz="1400">
                <a:latin typeface="+mn-lt"/>
                <a:ea typeface="+mn-ea"/>
                <a:sym typeface="Calibri" panose="020F0502020204030204" charset="0"/>
              </a:defRPr>
            </a:lvl1pPr>
            <a:lvl2pPr marL="742950" indent="-285750">
              <a:spcBef>
                <a:spcPct val="20000"/>
              </a:spcBef>
              <a:buChar char="–"/>
              <a:defRPr sz="1400">
                <a:latin typeface="Calibri" panose="020F0502020204030204" charset="0"/>
                <a:sym typeface="Calibri" panose="020F0502020204030204" charset="0"/>
              </a:defRPr>
            </a:lvl2pPr>
            <a:lvl3pPr marL="1143000" indent="-228600">
              <a:spcBef>
                <a:spcPct val="20000"/>
              </a:spcBef>
              <a:buChar char="•"/>
              <a:defRPr sz="1400">
                <a:latin typeface="Calibri" panose="020F0502020204030204" charset="0"/>
                <a:sym typeface="Calibri" panose="020F0502020204030204" charset="0"/>
              </a:defRPr>
            </a:lvl3pPr>
            <a:lvl4pPr marL="1600200" indent="-228600">
              <a:spcBef>
                <a:spcPct val="20000"/>
              </a:spcBef>
              <a:buChar char="–"/>
              <a:defRPr sz="1400">
                <a:latin typeface="Calibri" panose="020F0502020204030204" charset="0"/>
                <a:sym typeface="Calibri" panose="020F0502020204030204" charset="0"/>
              </a:defRPr>
            </a:lvl4pPr>
            <a:lvl5pPr marL="2057400" indent="-228600">
              <a:spcBef>
                <a:spcPct val="20000"/>
              </a:spcBef>
              <a:buChar char="»"/>
              <a:defRPr sz="1400">
                <a:latin typeface="Calibri" panose="020F0502020204030204" charset="0"/>
                <a:sym typeface="Calibri" panose="020F0502020204030204" charset="0"/>
              </a:defRPr>
            </a:lvl5pPr>
            <a:lvl6pPr marL="2514600" indent="-228600">
              <a:spcBef>
                <a:spcPct val="20000"/>
              </a:spcBef>
              <a:buChar char="»"/>
              <a:defRPr sz="2000">
                <a:latin typeface="Calibri" panose="020F0502020204030204" charset="0"/>
                <a:sym typeface="Calibri" panose="020F0502020204030204" charset="0"/>
              </a:defRPr>
            </a:lvl6pPr>
            <a:lvl7pPr marL="2971800" indent="-228600">
              <a:spcBef>
                <a:spcPct val="20000"/>
              </a:spcBef>
              <a:buChar char="»"/>
              <a:defRPr sz="2000">
                <a:latin typeface="Calibri" panose="020F0502020204030204" charset="0"/>
                <a:sym typeface="Calibri" panose="020F0502020204030204" charset="0"/>
              </a:defRPr>
            </a:lvl7pPr>
            <a:lvl8pPr marL="3429000" indent="-228600">
              <a:spcBef>
                <a:spcPct val="20000"/>
              </a:spcBef>
              <a:buChar char="»"/>
              <a:defRPr sz="2000">
                <a:latin typeface="Calibri" panose="020F0502020204030204" charset="0"/>
                <a:sym typeface="Calibri" panose="020F0502020204030204" charset="0"/>
              </a:defRPr>
            </a:lvl8pPr>
            <a:lvl9pPr marL="3886200" indent="-228600">
              <a:spcBef>
                <a:spcPct val="20000"/>
              </a:spcBef>
              <a:buChar char="»"/>
              <a:defRPr sz="2000">
                <a:latin typeface="Calibri" panose="020F0502020204030204" charset="0"/>
                <a:sym typeface="Calibri" panose="020F0502020204030204" charset="0"/>
              </a:defRPr>
            </a:lvl9pPr>
          </a:lstStyle>
          <a:p>
            <a:pPr marL="0" indent="0" algn="ctr">
              <a:buNone/>
            </a:pPr>
            <a:r>
              <a:rPr lang="zh-CN" altLang="en-US" sz="2400" b="1" dirty="0"/>
              <a:t>共赢</a:t>
            </a:r>
            <a:endParaRPr lang="zh-CN" altLang="en-US" sz="2400" b="1" dirty="0"/>
          </a:p>
        </p:txBody>
      </p:sp>
      <p:pic>
        <p:nvPicPr>
          <p:cNvPr id="17" name="Picture 16"/>
          <p:cNvPicPr/>
          <p:nvPr/>
        </p:nvPicPr>
        <p:blipFill>
          <a:blip r:embed="rId4"/>
          <a:srcRect/>
          <a:stretch>
            <a:fillRect/>
          </a:stretch>
        </p:blipFill>
        <p:spPr>
          <a:xfrm>
            <a:off x="0" y="425"/>
            <a:ext cx="4572000" cy="5143075"/>
          </a:xfrm>
          <a:custGeom>
            <a:avLst/>
            <a:gdLst>
              <a:gd name="connsiteX0" fmla="*/ 0 w 4572000"/>
              <a:gd name="connsiteY0" fmla="*/ 0 h 5143075"/>
              <a:gd name="connsiteX1" fmla="*/ 4572000 w 4572000"/>
              <a:gd name="connsiteY1" fmla="*/ 0 h 5143075"/>
              <a:gd name="connsiteX2" fmla="*/ 4572000 w 4572000"/>
              <a:gd name="connsiteY2" fmla="*/ 2008464 h 5143075"/>
              <a:gd name="connsiteX3" fmla="*/ 3613495 w 4572000"/>
              <a:gd name="connsiteY3" fmla="*/ 854708 h 5143075"/>
              <a:gd name="connsiteX4" fmla="*/ 2800695 w 4572000"/>
              <a:gd name="connsiteY4" fmla="*/ 1184908 h 5143075"/>
              <a:gd name="connsiteX5" fmla="*/ 4113028 w 4572000"/>
              <a:gd name="connsiteY5" fmla="*/ 2590375 h 5143075"/>
              <a:gd name="connsiteX6" fmla="*/ 2792228 w 4572000"/>
              <a:gd name="connsiteY6" fmla="*/ 3902708 h 5143075"/>
              <a:gd name="connsiteX7" fmla="*/ 3774362 w 4572000"/>
              <a:gd name="connsiteY7" fmla="*/ 4165175 h 5143075"/>
              <a:gd name="connsiteX8" fmla="*/ 4572000 w 4572000"/>
              <a:gd name="connsiteY8" fmla="*/ 3071909 h 5143075"/>
              <a:gd name="connsiteX9" fmla="*/ 4572000 w 4572000"/>
              <a:gd name="connsiteY9" fmla="*/ 5143075 h 5143075"/>
              <a:gd name="connsiteX10" fmla="*/ 0 w 4572000"/>
              <a:gd name="connsiteY10" fmla="*/ 5143075 h 514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2000" h="5143075">
                <a:moveTo>
                  <a:pt x="0" y="0"/>
                </a:moveTo>
                <a:lnTo>
                  <a:pt x="4572000" y="0"/>
                </a:lnTo>
                <a:lnTo>
                  <a:pt x="4572000" y="2008464"/>
                </a:lnTo>
                <a:lnTo>
                  <a:pt x="3613495" y="854708"/>
                </a:lnTo>
                <a:lnTo>
                  <a:pt x="2800695" y="1184908"/>
                </a:lnTo>
                <a:lnTo>
                  <a:pt x="4113028" y="2590375"/>
                </a:lnTo>
                <a:lnTo>
                  <a:pt x="2792228" y="3902708"/>
                </a:lnTo>
                <a:lnTo>
                  <a:pt x="3774362" y="4165175"/>
                </a:lnTo>
                <a:lnTo>
                  <a:pt x="4572000" y="3071909"/>
                </a:lnTo>
                <a:lnTo>
                  <a:pt x="4572000" y="5143075"/>
                </a:lnTo>
                <a:lnTo>
                  <a:pt x="0" y="5143075"/>
                </a:lnTo>
                <a:close/>
              </a:path>
            </a:pathLst>
          </a:custGeom>
        </p:spPr>
      </p:pic>
      <p:sp>
        <p:nvSpPr>
          <p:cNvPr id="25" name="Right Triangle 24"/>
          <p:cNvSpPr>
            <a:spLocks noChangeAspect="1"/>
          </p:cNvSpPr>
          <p:nvPr/>
        </p:nvSpPr>
        <p:spPr>
          <a:xfrm flipH="1" flipV="1">
            <a:off x="8365066" y="0"/>
            <a:ext cx="778933" cy="778933"/>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7" name="Straight Connector 26"/>
          <p:cNvCxnSpPr/>
          <p:nvPr/>
        </p:nvCxnSpPr>
        <p:spPr>
          <a:xfrm>
            <a:off x="5448706" y="2576643"/>
            <a:ext cx="320929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1800" dirty="0">
                <a:solidFill>
                  <a:srgbClr val="C00000"/>
                </a:solidFill>
                <a:latin typeface="微软雅黑" panose="020B0503020204020204" charset="-122"/>
                <a:ea typeface="微软雅黑" panose="020B0503020204020204" charset="-122"/>
              </a:rPr>
              <a:t>公司简介</a:t>
            </a:r>
            <a:endParaRPr lang="zh-CN" altLang="en-US" sz="1800" dirty="0">
              <a:solidFill>
                <a:srgbClr val="C00000"/>
              </a:solidFill>
              <a:latin typeface="微软雅黑" panose="020B0503020204020204" charset="-122"/>
              <a:ea typeface="微软雅黑" panose="020B0503020204020204" charset="-122"/>
            </a:endParaRPr>
          </a:p>
        </p:txBody>
      </p:sp>
      <p:pic>
        <p:nvPicPr>
          <p:cNvPr id="5" name="图片 4" descr="微信截图_20240604155649"/>
          <p:cNvPicPr>
            <a:picLocks noChangeAspect="1"/>
          </p:cNvPicPr>
          <p:nvPr>
            <p:custDataLst>
              <p:tags r:id="rId1"/>
            </p:custDataLst>
          </p:nvPr>
        </p:nvPicPr>
        <p:blipFill>
          <a:blip r:embed="rId2"/>
          <a:stretch>
            <a:fillRect/>
          </a:stretch>
        </p:blipFill>
        <p:spPr>
          <a:xfrm>
            <a:off x="7376795" y="4498340"/>
            <a:ext cx="1764030" cy="645160"/>
          </a:xfrm>
          <a:prstGeom prst="rect">
            <a:avLst/>
          </a:prstGeom>
        </p:spPr>
      </p:pic>
      <p:sp>
        <p:nvSpPr>
          <p:cNvPr id="8197" name="矩形 7"/>
          <p:cNvSpPr/>
          <p:nvPr>
            <p:custDataLst>
              <p:tags r:id="rId3"/>
            </p:custDataLst>
          </p:nvPr>
        </p:nvSpPr>
        <p:spPr>
          <a:xfrm>
            <a:off x="2103418" y="886539"/>
            <a:ext cx="2226171" cy="3637955"/>
          </a:xfrm>
          <a:prstGeom prst="round2SameRect">
            <a:avLst/>
          </a:prstGeom>
          <a:solidFill>
            <a:schemeClr val="bg1">
              <a:lumMod val="95000"/>
            </a:schemeClr>
          </a:solidFill>
          <a:ln w="9525">
            <a:noFill/>
          </a:ln>
        </p:spPr>
        <p:txBody>
          <a:bodyPr anchor="ctr" anchorCtr="0"/>
          <a:p>
            <a:pPr algn="ctr">
              <a:buClr>
                <a:schemeClr val="tx2"/>
              </a:buClr>
            </a:pPr>
            <a:endParaRPr sz="1690">
              <a:latin typeface="微软雅黑" panose="020B0503020204020204" charset="-122"/>
              <a:ea typeface="微软雅黑" panose="020B0503020204020204" charset="-122"/>
              <a:sym typeface="微软雅黑" panose="020B0503020204020204" charset="-122"/>
            </a:endParaRPr>
          </a:p>
        </p:txBody>
      </p:sp>
      <p:grpSp>
        <p:nvGrpSpPr>
          <p:cNvPr id="8" name="Group 7"/>
          <p:cNvGrpSpPr/>
          <p:nvPr/>
        </p:nvGrpSpPr>
        <p:grpSpPr>
          <a:xfrm>
            <a:off x="4552607" y="858484"/>
            <a:ext cx="3750310" cy="3636010"/>
            <a:chOff x="4538662" y="898631"/>
            <a:chExt cx="4444812" cy="4309345"/>
          </a:xfrm>
        </p:grpSpPr>
        <p:sp>
          <p:nvSpPr>
            <p:cNvPr id="8202" name="文本框 43"/>
            <p:cNvSpPr/>
            <p:nvPr>
              <p:custDataLst>
                <p:tags r:id="rId4"/>
              </p:custDataLst>
            </p:nvPr>
          </p:nvSpPr>
          <p:spPr>
            <a:xfrm>
              <a:off x="4681656" y="898631"/>
              <a:ext cx="4171950" cy="307777"/>
            </a:xfrm>
            <a:prstGeom prst="rect">
              <a:avLst/>
            </a:prstGeom>
            <a:noFill/>
            <a:ln w="9525">
              <a:noFill/>
            </a:ln>
          </p:spPr>
          <p:txBody>
            <a:bodyPr wrap="square" lIns="0" tIns="0" rIns="0" bIns="0">
              <a:noAutofit/>
            </a:bodyPr>
            <a:p>
              <a:pPr algn="ctr"/>
              <a:r>
                <a:rPr lang="zh-CN" altLang="en-US" sz="1800" b="1" dirty="0">
                  <a:solidFill>
                    <a:srgbClr val="0070C0"/>
                  </a:solidFill>
                  <a:latin typeface="微软雅黑" panose="020B0503020204020204" charset="-122"/>
                  <a:ea typeface="微软雅黑" panose="020B0503020204020204" charset="-122"/>
                  <a:sym typeface="微软雅黑" panose="020B0503020204020204" charset="-122"/>
                </a:rPr>
                <a:t>第一批全国性保险经纪公司</a:t>
              </a:r>
              <a:endParaRPr lang="zh-CN" altLang="en-US" sz="1800" b="1" dirty="0">
                <a:solidFill>
                  <a:srgbClr val="0070C0"/>
                </a:solidFill>
                <a:latin typeface="微软雅黑" panose="020B0503020204020204" charset="-122"/>
                <a:ea typeface="微软雅黑" panose="020B0503020204020204" charset="-122"/>
                <a:sym typeface="微软雅黑" panose="020B0503020204020204" charset="-122"/>
              </a:endParaRPr>
            </a:p>
          </p:txBody>
        </p:sp>
        <p:sp>
          <p:nvSpPr>
            <p:cNvPr id="8206" name="文本框 45"/>
            <p:cNvSpPr/>
            <p:nvPr>
              <p:custDataLst>
                <p:tags r:id="rId5"/>
              </p:custDataLst>
            </p:nvPr>
          </p:nvSpPr>
          <p:spPr>
            <a:xfrm>
              <a:off x="4538662" y="1395342"/>
              <a:ext cx="4444812" cy="3812634"/>
            </a:xfrm>
            <a:prstGeom prst="rect">
              <a:avLst/>
            </a:prstGeom>
            <a:noFill/>
            <a:ln w="9525">
              <a:noFill/>
            </a:ln>
          </p:spPr>
          <p:txBody>
            <a:bodyPr wrap="square" lIns="0" tIns="0" rIns="0" bIns="0">
              <a:noAutofit/>
            </a:bodyPr>
            <a:p>
              <a:pPr marL="171450" indent="-171450" algn="just">
                <a:lnSpc>
                  <a:spcPct val="200000"/>
                </a:lnSpc>
                <a:buFont typeface="Wingdings" panose="05000000000000000000" charset="0"/>
                <a:buChar char="Ø"/>
              </a:pPr>
              <a:r>
                <a:rPr sz="1200" dirty="0">
                  <a:latin typeface="微软雅黑" panose="020B0503020204020204" charset="-122"/>
                  <a:ea typeface="微软雅黑" panose="020B0503020204020204" charset="-122"/>
                  <a:sym typeface="微软雅黑" panose="020B0503020204020204" charset="-122"/>
                </a:rPr>
                <a:t>东方大地（武汉）保险经纪有限公司是</a:t>
              </a:r>
              <a:r>
                <a:rPr sz="1200" b="1" dirty="0">
                  <a:solidFill>
                    <a:srgbClr val="0070C0"/>
                  </a:solidFill>
                  <a:latin typeface="微软雅黑" panose="020B0503020204020204" charset="-122"/>
                  <a:ea typeface="微软雅黑" panose="020B0503020204020204" charset="-122"/>
                  <a:sym typeface="微软雅黑" panose="020B0503020204020204" charset="-122"/>
                </a:rPr>
                <a:t>2004年</a:t>
              </a:r>
              <a:r>
                <a:rPr sz="1200" dirty="0">
                  <a:latin typeface="微软雅黑" panose="020B0503020204020204" charset="-122"/>
                  <a:ea typeface="微软雅黑" panose="020B0503020204020204" charset="-122"/>
                  <a:sym typeface="微软雅黑" panose="020B0503020204020204" charset="-122"/>
                </a:rPr>
                <a:t>经原中国保险监督管理委员会批准，我国成立的</a:t>
              </a:r>
              <a:r>
                <a:rPr lang="zh-CN" sz="1200" dirty="0">
                  <a:latin typeface="微软雅黑" panose="020B0503020204020204" charset="-122"/>
                  <a:ea typeface="微软雅黑" panose="020B0503020204020204" charset="-122"/>
                  <a:sym typeface="微软雅黑" panose="020B0503020204020204" charset="-122"/>
                </a:rPr>
                <a:t>第一批</a:t>
              </a:r>
              <a:r>
                <a:rPr sz="1200" dirty="0">
                  <a:latin typeface="微软雅黑" panose="020B0503020204020204" charset="-122"/>
                  <a:ea typeface="微软雅黑" panose="020B0503020204020204" charset="-122"/>
                  <a:sym typeface="微软雅黑" panose="020B0503020204020204" charset="-122"/>
                </a:rPr>
                <a:t>全国性保险经纪公司，注册资本金为</a:t>
              </a:r>
              <a:r>
                <a:rPr lang="en-US" sz="1200" b="1" dirty="0">
                  <a:solidFill>
                    <a:srgbClr val="0070C0"/>
                  </a:solidFill>
                  <a:latin typeface="微软雅黑" panose="020B0503020204020204" charset="-122"/>
                  <a:ea typeface="微软雅黑" panose="020B0503020204020204" charset="-122"/>
                  <a:sym typeface="微软雅黑" panose="020B0503020204020204" charset="-122"/>
                </a:rPr>
                <a:t>8250</a:t>
              </a:r>
              <a:r>
                <a:rPr sz="1200" b="1" dirty="0">
                  <a:solidFill>
                    <a:srgbClr val="0070C0"/>
                  </a:solidFill>
                  <a:latin typeface="微软雅黑" panose="020B0503020204020204" charset="-122"/>
                  <a:ea typeface="微软雅黑" panose="020B0503020204020204" charset="-122"/>
                  <a:sym typeface="微软雅黑" panose="020B0503020204020204" charset="-122"/>
                </a:rPr>
                <a:t>万元</a:t>
              </a:r>
              <a:r>
                <a:rPr sz="1200" dirty="0">
                  <a:latin typeface="微软雅黑" panose="020B0503020204020204" charset="-122"/>
                  <a:ea typeface="微软雅黑" panose="020B0503020204020204" charset="-122"/>
                  <a:sym typeface="微软雅黑" panose="020B0503020204020204" charset="-122"/>
                </a:rPr>
                <a:t>。公司主要从事</a:t>
              </a:r>
              <a:r>
                <a:rPr sz="1200" b="1" dirty="0">
                  <a:solidFill>
                    <a:srgbClr val="0070C0"/>
                  </a:solidFill>
                  <a:latin typeface="微软雅黑" panose="020B0503020204020204" charset="-122"/>
                  <a:ea typeface="微软雅黑" panose="020B0503020204020204" charset="-122"/>
                  <a:sym typeface="微软雅黑" panose="020B0503020204020204" charset="-122"/>
                </a:rPr>
                <a:t>直接保险</a:t>
              </a:r>
              <a:r>
                <a:rPr sz="1200" dirty="0">
                  <a:latin typeface="微软雅黑" panose="020B0503020204020204" charset="-122"/>
                  <a:ea typeface="微软雅黑" panose="020B0503020204020204" charset="-122"/>
                  <a:sym typeface="微软雅黑" panose="020B0503020204020204" charset="-122"/>
                </a:rPr>
                <a:t>经纪业务、</a:t>
              </a:r>
              <a:r>
                <a:rPr sz="1200" b="1" dirty="0">
                  <a:solidFill>
                    <a:srgbClr val="0070C0"/>
                  </a:solidFill>
                  <a:latin typeface="微软雅黑" panose="020B0503020204020204" charset="-122"/>
                  <a:ea typeface="微软雅黑" panose="020B0503020204020204" charset="-122"/>
                  <a:sym typeface="微软雅黑" panose="020B0503020204020204" charset="-122"/>
                </a:rPr>
                <a:t>再保险</a:t>
              </a:r>
              <a:r>
                <a:rPr sz="1200" dirty="0">
                  <a:latin typeface="微软雅黑" panose="020B0503020204020204" charset="-122"/>
                  <a:ea typeface="微软雅黑" panose="020B0503020204020204" charset="-122"/>
                  <a:sym typeface="微软雅黑" panose="020B0503020204020204" charset="-122"/>
                </a:rPr>
                <a:t>经纪业务和咨询业务，包括风险评估与保险方案设计、</a:t>
              </a:r>
              <a:r>
                <a:rPr sz="1200" b="1" dirty="0">
                  <a:solidFill>
                    <a:srgbClr val="0070C0"/>
                  </a:solidFill>
                  <a:latin typeface="微软雅黑" panose="020B0503020204020204" charset="-122"/>
                  <a:ea typeface="微软雅黑" panose="020B0503020204020204" charset="-122"/>
                  <a:sym typeface="微软雅黑" panose="020B0503020204020204" charset="-122"/>
                </a:rPr>
                <a:t>产险及寿险</a:t>
              </a:r>
              <a:r>
                <a:rPr sz="1200" dirty="0">
                  <a:latin typeface="微软雅黑" panose="020B0503020204020204" charset="-122"/>
                  <a:ea typeface="微软雅黑" panose="020B0503020204020204" charset="-122"/>
                  <a:sym typeface="微软雅黑" panose="020B0503020204020204" charset="-122"/>
                </a:rPr>
                <a:t>产品定制、协助理赔、主动风险管理、顾问服务及政府采购代理等。</a:t>
              </a:r>
              <a:r>
                <a:rPr lang="en-US" sz="1200" dirty="0">
                  <a:latin typeface="微软雅黑" panose="020B0503020204020204" charset="-122"/>
                  <a:ea typeface="微软雅黑" panose="020B0503020204020204" charset="-122"/>
                  <a:sym typeface="微软雅黑" panose="020B0503020204020204" charset="-122"/>
                </a:rPr>
                <a:t>2023</a:t>
              </a:r>
              <a:r>
                <a:rPr lang="zh-CN" altLang="en-US" sz="1200" dirty="0">
                  <a:latin typeface="微软雅黑" panose="020B0503020204020204" charset="-122"/>
                  <a:ea typeface="微软雅黑" panose="020B0503020204020204" charset="-122"/>
                  <a:sym typeface="微软雅黑" panose="020B0503020204020204" charset="-122"/>
                </a:rPr>
                <a:t>年公司自建东方云服销售平台，拥有</a:t>
              </a:r>
              <a:r>
                <a:rPr sz="1200" b="1" dirty="0">
                  <a:solidFill>
                    <a:srgbClr val="0070C0"/>
                  </a:solidFill>
                  <a:latin typeface="微软雅黑" panose="020B0503020204020204" charset="-122"/>
                  <a:ea typeface="微软雅黑" panose="020B0503020204020204" charset="-122"/>
                  <a:sym typeface="微软雅黑" panose="020B0503020204020204" charset="-122"/>
                </a:rPr>
                <a:t>8000余名经纪人</a:t>
              </a:r>
              <a:r>
                <a:rPr lang="zh-CN" sz="1200" b="1" dirty="0">
                  <a:solidFill>
                    <a:srgbClr val="0070C0"/>
                  </a:solidFill>
                  <a:latin typeface="微软雅黑" panose="020B0503020204020204" charset="-122"/>
                  <a:ea typeface="微软雅黑" panose="020B0503020204020204" charset="-122"/>
                  <a:sym typeface="微软雅黑" panose="020B0503020204020204" charset="-122"/>
                </a:rPr>
                <a:t>、</a:t>
              </a:r>
              <a:r>
                <a:rPr sz="1200" b="1" dirty="0">
                  <a:solidFill>
                    <a:srgbClr val="0070C0"/>
                  </a:solidFill>
                  <a:latin typeface="微软雅黑" panose="020B0503020204020204" charset="-122"/>
                  <a:ea typeface="微软雅黑" panose="020B0503020204020204" charset="-122"/>
                  <a:sym typeface="微软雅黑" panose="020B0503020204020204" charset="-122"/>
                </a:rPr>
                <a:t>保费收入30亿元</a:t>
              </a:r>
              <a:r>
                <a:rPr lang="zh-CN" sz="1200" b="1" dirty="0">
                  <a:solidFill>
                    <a:srgbClr val="0070C0"/>
                  </a:solidFill>
                  <a:latin typeface="微软雅黑" panose="020B0503020204020204" charset="-122"/>
                  <a:ea typeface="微软雅黑" panose="020B0503020204020204" charset="-122"/>
                  <a:sym typeface="微软雅黑" panose="020B0503020204020204" charset="-122"/>
                </a:rPr>
                <a:t>、</a:t>
              </a:r>
              <a:r>
                <a:rPr sz="1200" b="1" dirty="0">
                  <a:solidFill>
                    <a:srgbClr val="0070C0"/>
                  </a:solidFill>
                  <a:latin typeface="微软雅黑" panose="020B0503020204020204" charset="-122"/>
                  <a:ea typeface="微软雅黑" panose="020B0503020204020204" charset="-122"/>
                  <a:sym typeface="微软雅黑" panose="020B0503020204020204" charset="-122"/>
                </a:rPr>
                <a:t>经纪费收入11亿元</a:t>
              </a:r>
              <a:r>
                <a:rPr lang="zh-CN" altLang="en-US" sz="1200" dirty="0">
                  <a:latin typeface="微软雅黑" panose="020B0503020204020204" charset="-122"/>
                  <a:ea typeface="微软雅黑" panose="020B0503020204020204" charset="-122"/>
                  <a:sym typeface="微软雅黑" panose="020B0503020204020204" charset="-122"/>
                </a:rPr>
                <a:t>。</a:t>
              </a:r>
              <a:endParaRPr lang="zh-CN" altLang="en-US" sz="1200" dirty="0">
                <a:latin typeface="微软雅黑" panose="020B0503020204020204" charset="-122"/>
                <a:ea typeface="微软雅黑" panose="020B0503020204020204" charset="-122"/>
                <a:sym typeface="微软雅黑" panose="020B0503020204020204" charset="-122"/>
              </a:endParaRPr>
            </a:p>
          </p:txBody>
        </p:sp>
      </p:grpSp>
      <p:grpSp>
        <p:nvGrpSpPr>
          <p:cNvPr id="7" name="Group 6"/>
          <p:cNvGrpSpPr/>
          <p:nvPr/>
        </p:nvGrpSpPr>
        <p:grpSpPr>
          <a:xfrm>
            <a:off x="782717" y="1706409"/>
            <a:ext cx="1516261" cy="1622078"/>
            <a:chOff x="139700" y="1504950"/>
            <a:chExt cx="1797050" cy="1922463"/>
          </a:xfrm>
        </p:grpSpPr>
        <p:sp>
          <p:nvSpPr>
            <p:cNvPr id="8203" name="椭圆 61"/>
            <p:cNvSpPr/>
            <p:nvPr>
              <p:custDataLst>
                <p:tags r:id="rId6"/>
              </p:custDataLst>
            </p:nvPr>
          </p:nvSpPr>
          <p:spPr>
            <a:xfrm>
              <a:off x="1365250" y="3009900"/>
              <a:ext cx="158750" cy="158750"/>
            </a:xfrm>
            <a:prstGeom prst="ellipse">
              <a:avLst/>
            </a:prstGeom>
            <a:gradFill rotWithShape="1">
              <a:gsLst>
                <a:gs pos="0">
                  <a:srgbClr val="0070C0">
                    <a:alpha val="100000"/>
                  </a:srgbClr>
                </a:gs>
                <a:gs pos="100000">
                  <a:srgbClr val="00B0F0">
                    <a:alpha val="100000"/>
                  </a:srgbClr>
                </a:gs>
              </a:gsLst>
              <a:lin ang="600000" scaled="1"/>
              <a:tileRect/>
            </a:gradFill>
            <a:ln w="9525" cap="flat" cmpd="sng">
              <a:solidFill>
                <a:srgbClr val="F2F2F2"/>
              </a:solidFill>
              <a:prstDash val="solid"/>
              <a:headEnd type="none" w="med" len="med"/>
              <a:tailEnd type="none" w="med" len="med"/>
            </a:ln>
          </p:spPr>
          <p:txBody>
            <a:bodyPr vert="horz" wrap="square" lIns="43397" tIns="21698" rIns="43397" bIns="21698" anchor="ctr" anchorCtr="0"/>
            <a:p>
              <a:pPr algn="ctr">
                <a:buNone/>
              </a:pPr>
              <a:endParaRPr sz="845" b="1" i="1" baseline="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8204" name="椭圆 63"/>
            <p:cNvSpPr/>
            <p:nvPr>
              <p:custDataLst>
                <p:tags r:id="rId7"/>
              </p:custDataLst>
            </p:nvPr>
          </p:nvSpPr>
          <p:spPr>
            <a:xfrm>
              <a:off x="1365250" y="3009900"/>
              <a:ext cx="158750" cy="158750"/>
            </a:xfrm>
            <a:prstGeom prst="ellipse">
              <a:avLst/>
            </a:prstGeom>
            <a:gradFill rotWithShape="1">
              <a:gsLst>
                <a:gs pos="0">
                  <a:srgbClr val="E30000">
                    <a:alpha val="100000"/>
                  </a:srgbClr>
                </a:gs>
                <a:gs pos="100000">
                  <a:srgbClr val="760303">
                    <a:alpha val="100000"/>
                  </a:srgbClr>
                </a:gs>
              </a:gsLst>
              <a:lin ang="600000" scaled="1"/>
              <a:tileRect/>
            </a:gradFill>
            <a:ln w="9525">
              <a:noFill/>
            </a:ln>
          </p:spPr>
          <p:txBody>
            <a:bodyPr vert="horz" wrap="square" lIns="43397" tIns="21698" rIns="43397" bIns="21698" anchor="ctr" anchorCtr="0"/>
            <a:p>
              <a:pPr algn="ctr">
                <a:buNone/>
              </a:pPr>
              <a:endParaRPr sz="845" b="1" i="1" baseline="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8205" name="椭圆 67"/>
            <p:cNvSpPr/>
            <p:nvPr>
              <p:custDataLst>
                <p:tags r:id="rId8"/>
              </p:custDataLst>
            </p:nvPr>
          </p:nvSpPr>
          <p:spPr>
            <a:xfrm>
              <a:off x="560388" y="2568575"/>
              <a:ext cx="306387" cy="306388"/>
            </a:xfrm>
            <a:prstGeom prst="ellipse">
              <a:avLst/>
            </a:prstGeom>
            <a:gradFill rotWithShape="1">
              <a:gsLst>
                <a:gs pos="0">
                  <a:srgbClr val="FFFFFF">
                    <a:alpha val="100000"/>
                  </a:srgbClr>
                </a:gs>
                <a:gs pos="35999">
                  <a:srgbClr val="FFFFFF">
                    <a:alpha val="100000"/>
                  </a:srgbClr>
                </a:gs>
                <a:gs pos="100000">
                  <a:srgbClr val="C7C7C7">
                    <a:alpha val="100000"/>
                  </a:srgbClr>
                </a:gs>
              </a:gsLst>
              <a:lin ang="18900000" scaled="1"/>
              <a:tileRect/>
            </a:gradFill>
            <a:ln w="9525" cap="flat" cmpd="sng">
              <a:solidFill>
                <a:srgbClr val="F2F2F2"/>
              </a:solidFill>
              <a:prstDash val="solid"/>
              <a:headEnd type="none" w="med" len="med"/>
              <a:tailEnd type="none" w="med" len="med"/>
            </a:ln>
          </p:spPr>
          <p:txBody>
            <a:bodyPr vert="horz" wrap="square" lIns="43397" tIns="21698" rIns="43397" bIns="21698" anchor="ctr" anchorCtr="0"/>
            <a:p>
              <a:pPr algn="ctr">
                <a:buNone/>
              </a:pPr>
              <a:endParaRPr sz="845" b="1" i="1" baseline="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8207" name="椭圆 52"/>
            <p:cNvSpPr/>
            <p:nvPr>
              <p:custDataLst>
                <p:tags r:id="rId9"/>
              </p:custDataLst>
            </p:nvPr>
          </p:nvSpPr>
          <p:spPr>
            <a:xfrm>
              <a:off x="223838" y="1714500"/>
              <a:ext cx="1712912" cy="1712913"/>
            </a:xfrm>
            <a:prstGeom prst="ellipse">
              <a:avLst/>
            </a:prstGeom>
            <a:solidFill>
              <a:schemeClr val="accent1"/>
            </a:solidFill>
            <a:ln w="9525" cap="flat" cmpd="sng">
              <a:noFill/>
              <a:prstDash val="solid"/>
              <a:headEnd type="none" w="med" len="med"/>
              <a:tailEnd type="none" w="med" len="med"/>
            </a:ln>
          </p:spPr>
          <p:txBody>
            <a:bodyPr vert="horz" wrap="square" lIns="43397" tIns="21698" rIns="43397" bIns="21698" anchor="ctr" anchorCtr="0"/>
            <a:p>
              <a:pPr algn="ctr">
                <a:buClr>
                  <a:schemeClr val="lt1"/>
                </a:buClr>
                <a:buNone/>
              </a:pPr>
              <a:endParaRPr sz="845" i="1" baseline="0">
                <a:solidFill>
                  <a:schemeClr val="lt1"/>
                </a:solidFill>
                <a:latin typeface="微软雅黑" panose="020B0503020204020204" charset="-122"/>
                <a:ea typeface="微软雅黑" panose="020B0503020204020204" charset="-122"/>
                <a:sym typeface="微软雅黑" panose="020B0503020204020204" charset="-122"/>
              </a:endParaRPr>
            </a:p>
          </p:txBody>
        </p:sp>
        <p:sp>
          <p:nvSpPr>
            <p:cNvPr id="8208" name="椭圆 53"/>
            <p:cNvSpPr/>
            <p:nvPr>
              <p:custDataLst>
                <p:tags r:id="rId10"/>
              </p:custDataLst>
            </p:nvPr>
          </p:nvSpPr>
          <p:spPr>
            <a:xfrm>
              <a:off x="270669" y="1761331"/>
              <a:ext cx="1619250" cy="1619250"/>
            </a:xfrm>
            <a:prstGeom prst="ellipse">
              <a:avLst/>
            </a:prstGeom>
            <a:solidFill>
              <a:schemeClr val="bg1"/>
            </a:solidFill>
            <a:ln w="9525" cap="flat" cmpd="sng">
              <a:noFill/>
              <a:prstDash val="solid"/>
              <a:headEnd type="none" w="med" len="med"/>
              <a:tailEnd type="none" w="med" len="med"/>
            </a:ln>
          </p:spPr>
          <p:txBody>
            <a:bodyPr vert="horz" wrap="square" lIns="43397" tIns="21698" rIns="43397" bIns="21698" anchor="ctr" anchorCtr="0"/>
            <a:p>
              <a:pPr algn="ctr">
                <a:buClr>
                  <a:schemeClr val="bg2"/>
                </a:buClr>
                <a:buNone/>
              </a:pPr>
              <a:endParaRPr sz="845" i="1" baseline="0">
                <a:solidFill>
                  <a:schemeClr val="lt1"/>
                </a:solidFill>
                <a:latin typeface="微软雅黑" panose="020B0503020204020204" charset="-122"/>
                <a:ea typeface="微软雅黑" panose="020B0503020204020204" charset="-122"/>
                <a:sym typeface="微软雅黑" panose="020B0503020204020204" charset="-122"/>
              </a:endParaRPr>
            </a:p>
          </p:txBody>
        </p:sp>
        <p:sp>
          <p:nvSpPr>
            <p:cNvPr id="8209" name="文本框 26"/>
            <p:cNvSpPr/>
            <p:nvPr>
              <p:custDataLst>
                <p:tags r:id="rId11"/>
              </p:custDataLst>
            </p:nvPr>
          </p:nvSpPr>
          <p:spPr>
            <a:xfrm>
              <a:off x="457994" y="2155825"/>
              <a:ext cx="1244600" cy="848172"/>
            </a:xfrm>
            <a:prstGeom prst="rect">
              <a:avLst/>
            </a:prstGeom>
            <a:noFill/>
            <a:ln w="9525">
              <a:noFill/>
            </a:ln>
          </p:spPr>
          <p:txBody>
            <a:bodyPr wrap="square">
              <a:spAutoFit/>
            </a:bodyPr>
            <a:p>
              <a:pPr algn="ctr">
                <a:buNone/>
              </a:pPr>
              <a:r>
                <a:rPr lang="zh-CN" altLang="en-US" sz="2025" b="1" i="1" baseline="0" dirty="0">
                  <a:solidFill>
                    <a:srgbClr val="C00000"/>
                  </a:solidFill>
                  <a:latin typeface="微软雅黑" panose="020B0503020204020204" charset="-122"/>
                  <a:ea typeface="微软雅黑" panose="020B0503020204020204" charset="-122"/>
                  <a:sym typeface="微软雅黑" panose="020B0503020204020204" charset="-122"/>
                </a:rPr>
                <a:t>东方</a:t>
              </a:r>
              <a:endParaRPr lang="zh-CN" altLang="en-US" sz="2025" b="1" i="1" baseline="0" dirty="0">
                <a:solidFill>
                  <a:srgbClr val="C00000"/>
                </a:solidFill>
                <a:latin typeface="微软雅黑" panose="020B0503020204020204" charset="-122"/>
                <a:ea typeface="微软雅黑" panose="020B0503020204020204" charset="-122"/>
                <a:sym typeface="微软雅黑" panose="020B0503020204020204" charset="-122"/>
              </a:endParaRPr>
            </a:p>
            <a:p>
              <a:pPr algn="ctr">
                <a:buNone/>
              </a:pPr>
              <a:r>
                <a:rPr lang="zh-CN" altLang="en-US" sz="2025" b="1" i="1" baseline="0" dirty="0">
                  <a:solidFill>
                    <a:srgbClr val="C00000"/>
                  </a:solidFill>
                  <a:latin typeface="微软雅黑" panose="020B0503020204020204" charset="-122"/>
                  <a:ea typeface="微软雅黑" panose="020B0503020204020204" charset="-122"/>
                  <a:sym typeface="微软雅黑" panose="020B0503020204020204" charset="-122"/>
                </a:rPr>
                <a:t>大地</a:t>
              </a:r>
              <a:endParaRPr lang="zh-CN" altLang="en-US" sz="2025" b="1" i="1" baseline="0" dirty="0">
                <a:solidFill>
                  <a:srgbClr val="C00000"/>
                </a:solidFill>
                <a:latin typeface="微软雅黑" panose="020B0503020204020204" charset="-122"/>
                <a:ea typeface="微软雅黑" panose="020B0503020204020204" charset="-122"/>
                <a:sym typeface="微软雅黑" panose="020B0503020204020204" charset="-122"/>
              </a:endParaRPr>
            </a:p>
          </p:txBody>
        </p:sp>
        <p:sp>
          <p:nvSpPr>
            <p:cNvPr id="8210" name="椭圆 65"/>
            <p:cNvSpPr/>
            <p:nvPr>
              <p:custDataLst>
                <p:tags r:id="rId12"/>
              </p:custDataLst>
            </p:nvPr>
          </p:nvSpPr>
          <p:spPr>
            <a:xfrm>
              <a:off x="139700" y="1504950"/>
              <a:ext cx="677863" cy="676275"/>
            </a:xfrm>
            <a:prstGeom prst="ellipse">
              <a:avLst/>
            </a:prstGeom>
            <a:gradFill rotWithShape="1">
              <a:gsLst>
                <a:gs pos="0">
                  <a:srgbClr val="FFFFFF">
                    <a:alpha val="100000"/>
                  </a:srgbClr>
                </a:gs>
                <a:gs pos="35999">
                  <a:srgbClr val="FFFFFF">
                    <a:alpha val="100000"/>
                  </a:srgbClr>
                </a:gs>
                <a:gs pos="100000">
                  <a:srgbClr val="C7C7C7">
                    <a:alpha val="100000"/>
                  </a:srgbClr>
                </a:gs>
              </a:gsLst>
              <a:lin ang="18900000" scaled="1"/>
              <a:tileRect/>
            </a:gradFill>
            <a:ln w="9525" cap="flat" cmpd="sng">
              <a:solidFill>
                <a:srgbClr val="FFFFFF"/>
              </a:solidFill>
              <a:prstDash val="solid"/>
              <a:headEnd type="none" w="med" len="med"/>
              <a:tailEnd type="none" w="med" len="med"/>
            </a:ln>
          </p:spPr>
          <p:txBody>
            <a:bodyPr vert="horz" wrap="square" lIns="43397" tIns="21698" rIns="43397" bIns="21698" anchor="ctr" anchorCtr="0"/>
            <a:p>
              <a:pPr algn="ctr">
                <a:buNone/>
              </a:pPr>
              <a:endParaRPr sz="845" b="1" i="1" baseline="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8211" name="矩形 95"/>
            <p:cNvSpPr/>
            <p:nvPr>
              <p:custDataLst>
                <p:tags r:id="rId13"/>
              </p:custDataLst>
            </p:nvPr>
          </p:nvSpPr>
          <p:spPr>
            <a:xfrm>
              <a:off x="139700" y="1620838"/>
              <a:ext cx="677863" cy="437256"/>
            </a:xfrm>
            <a:prstGeom prst="rect">
              <a:avLst/>
            </a:prstGeom>
            <a:noFill/>
            <a:ln w="9525">
              <a:noFill/>
            </a:ln>
          </p:spPr>
          <p:txBody>
            <a:bodyPr wrap="square" lIns="57857" tIns="28929" rIns="57857" bIns="28929">
              <a:spAutoFit/>
            </a:bodyPr>
            <a:p>
              <a:pPr algn="ctr">
                <a:buNone/>
              </a:pPr>
              <a:r>
                <a:rPr lang="en-US" altLang="zh-CN" sz="845" b="1" i="1" baseline="0" dirty="0">
                  <a:solidFill>
                    <a:srgbClr val="000000"/>
                  </a:solidFill>
                  <a:latin typeface="微软雅黑" panose="020B0503020204020204" charset="-122"/>
                  <a:ea typeface="微软雅黑" panose="020B0503020204020204" charset="-122"/>
                  <a:sym typeface="微软雅黑" panose="020B0503020204020204" charset="-122"/>
                </a:rPr>
                <a:t>Since </a:t>
              </a:r>
              <a:endParaRPr lang="en-US" altLang="zh-CN" sz="845" b="1" i="1" baseline="0" dirty="0">
                <a:solidFill>
                  <a:srgbClr val="000000"/>
                </a:solidFill>
                <a:latin typeface="微软雅黑" panose="020B0503020204020204" charset="-122"/>
                <a:ea typeface="微软雅黑" panose="020B0503020204020204" charset="-122"/>
                <a:sym typeface="微软雅黑" panose="020B0503020204020204" charset="-122"/>
              </a:endParaRPr>
            </a:p>
            <a:p>
              <a:pPr algn="ctr">
                <a:buNone/>
              </a:pPr>
              <a:r>
                <a:rPr lang="en-US" altLang="zh-CN" sz="1180" b="1" i="1" baseline="0" dirty="0">
                  <a:solidFill>
                    <a:srgbClr val="000000"/>
                  </a:solidFill>
                  <a:latin typeface="微软雅黑" panose="020B0503020204020204" charset="-122"/>
                  <a:ea typeface="微软雅黑" panose="020B0503020204020204" charset="-122"/>
                  <a:sym typeface="微软雅黑" panose="020B0503020204020204" charset="-122"/>
                </a:rPr>
                <a:t>2004</a:t>
              </a:r>
              <a:endParaRPr lang="en-US" altLang="zh-CN" sz="1180" b="1" i="1" baseline="0" dirty="0">
                <a:solidFill>
                  <a:srgbClr val="000000"/>
                </a:solidFill>
                <a:latin typeface="微软雅黑" panose="020B0503020204020204" charset="-122"/>
                <a:ea typeface="微软雅黑" panose="020B0503020204020204" charset="-122"/>
                <a:sym typeface="微软雅黑" panose="020B0503020204020204" charset="-122"/>
              </a:endParaRPr>
            </a:p>
          </p:txBody>
        </p:sp>
      </p:grpSp>
      <p:sp>
        <p:nvSpPr>
          <p:cNvPr id="8201" name="矩形 110"/>
          <p:cNvSpPr/>
          <p:nvPr>
            <p:custDataLst>
              <p:tags r:id="rId14"/>
            </p:custDataLst>
          </p:nvPr>
        </p:nvSpPr>
        <p:spPr>
          <a:xfrm>
            <a:off x="3101238" y="2820121"/>
            <a:ext cx="1100026" cy="656332"/>
          </a:xfrm>
          <a:prstGeom prst="rect">
            <a:avLst/>
          </a:prstGeom>
          <a:noFill/>
          <a:ln w="9525">
            <a:noFill/>
          </a:ln>
        </p:spPr>
        <p:txBody>
          <a:bodyPr wrap="square" lIns="0" tIns="0" rIns="0" bIns="0" anchor="ctr">
            <a:noAutofit/>
          </a:bodyPr>
          <a:p>
            <a:pPr defTabSz="457200">
              <a:lnSpc>
                <a:spcPct val="150000"/>
              </a:lnSpc>
              <a:buClr>
                <a:schemeClr val="tx1"/>
              </a:buClr>
              <a:buFont typeface="Wingdings" panose="05000000000000000000" pitchFamily="2" charset="2"/>
              <a:tabLst>
                <a:tab pos="285750" algn="l"/>
              </a:tabLst>
            </a:pPr>
            <a:r>
              <a:rPr lang="zh-CN" altLang="en-US" sz="1350" dirty="0">
                <a:latin typeface="微软雅黑" panose="020B0503020204020204" charset="-122"/>
                <a:ea typeface="微软雅黑" panose="020B0503020204020204" charset="-122"/>
                <a:sym typeface="微软雅黑" panose="020B0503020204020204" charset="-122"/>
              </a:rPr>
              <a:t>服务客户</a:t>
            </a:r>
            <a:endParaRPr lang="zh-CN" altLang="en-US" sz="1350" dirty="0">
              <a:latin typeface="微软雅黑" panose="020B0503020204020204" charset="-122"/>
              <a:ea typeface="微软雅黑" panose="020B0503020204020204" charset="-122"/>
              <a:sym typeface="微软雅黑" panose="020B0503020204020204" charset="-122"/>
            </a:endParaRPr>
          </a:p>
          <a:p>
            <a:pPr defTabSz="457200">
              <a:lnSpc>
                <a:spcPct val="150000"/>
              </a:lnSpc>
              <a:buClr>
                <a:schemeClr val="tx1"/>
              </a:buClr>
              <a:buFont typeface="Wingdings" panose="05000000000000000000" pitchFamily="2" charset="2"/>
              <a:tabLst>
                <a:tab pos="285750" algn="l"/>
              </a:tabLst>
            </a:pPr>
            <a:r>
              <a:rPr lang="zh-CN" altLang="en-US" sz="2025" b="1" dirty="0">
                <a:solidFill>
                  <a:srgbClr val="FF0000"/>
                </a:solidFill>
                <a:latin typeface="微软雅黑" panose="020B0503020204020204" charset="-122"/>
                <a:ea typeface="微软雅黑" panose="020B0503020204020204" charset="-122"/>
                <a:sym typeface="微软雅黑" panose="020B0503020204020204" charset="-122"/>
              </a:rPr>
              <a:t>10</a:t>
            </a:r>
            <a:r>
              <a:rPr lang="en-US" altLang="zh-CN" sz="2025" b="1" dirty="0">
                <a:solidFill>
                  <a:srgbClr val="FF0000"/>
                </a:solidFill>
                <a:latin typeface="微软雅黑" panose="020B0503020204020204" charset="-122"/>
                <a:ea typeface="微软雅黑" panose="020B0503020204020204" charset="-122"/>
                <a:sym typeface="微软雅黑" panose="020B0503020204020204" charset="-122"/>
              </a:rPr>
              <a:t>00</a:t>
            </a:r>
            <a:r>
              <a:rPr lang="zh-CN" altLang="en-US" sz="2025" b="1" dirty="0">
                <a:solidFill>
                  <a:srgbClr val="FF0000"/>
                </a:solidFill>
                <a:latin typeface="微软雅黑" panose="020B0503020204020204" charset="-122"/>
                <a:ea typeface="微软雅黑" panose="020B0503020204020204" charset="-122"/>
                <a:sym typeface="微软雅黑" panose="020B0503020204020204" charset="-122"/>
              </a:rPr>
              <a:t>万</a:t>
            </a:r>
            <a:r>
              <a:rPr lang="en-US" altLang="zh-CN" sz="2025" b="1" dirty="0">
                <a:solidFill>
                  <a:srgbClr val="FF0000"/>
                </a:solidFill>
                <a:latin typeface="微软雅黑" panose="020B0503020204020204" charset="-122"/>
                <a:ea typeface="微软雅黑" panose="020B0503020204020204" charset="-122"/>
                <a:sym typeface="微软雅黑" panose="020B0503020204020204" charset="-122"/>
              </a:rPr>
              <a:t>+</a:t>
            </a:r>
            <a:endParaRPr lang="en-US" altLang="zh-CN" sz="2025" b="1" i="1" baseline="0" dirty="0">
              <a:solidFill>
                <a:srgbClr val="FF0000"/>
              </a:solidFill>
              <a:latin typeface="微软雅黑" panose="020B0503020204020204" charset="-122"/>
              <a:ea typeface="微软雅黑" panose="020B0503020204020204" charset="-122"/>
              <a:sym typeface="微软雅黑" panose="020B0503020204020204" charset="-122"/>
            </a:endParaRPr>
          </a:p>
        </p:txBody>
      </p:sp>
      <p:grpSp>
        <p:nvGrpSpPr>
          <p:cNvPr id="3" name="Group 4"/>
          <p:cNvGrpSpPr/>
          <p:nvPr/>
        </p:nvGrpSpPr>
        <p:grpSpPr>
          <a:xfrm>
            <a:off x="2385373" y="2865195"/>
            <a:ext cx="566184" cy="566184"/>
            <a:chOff x="2654300" y="3502025"/>
            <a:chExt cx="534988" cy="477838"/>
          </a:xfrm>
        </p:grpSpPr>
        <p:sp>
          <p:nvSpPr>
            <p:cNvPr id="8212" name="Oval 8"/>
            <p:cNvSpPr/>
            <p:nvPr>
              <p:custDataLst>
                <p:tags r:id="rId15"/>
              </p:custDataLst>
            </p:nvPr>
          </p:nvSpPr>
          <p:spPr>
            <a:xfrm>
              <a:off x="2654300" y="3502025"/>
              <a:ext cx="534988" cy="477838"/>
            </a:xfrm>
            <a:prstGeom prst="ellipse">
              <a:avLst/>
            </a:prstGeom>
            <a:solidFill>
              <a:schemeClr val="bg1"/>
            </a:solidFill>
            <a:ln w="9525">
              <a:noFill/>
            </a:ln>
          </p:spPr>
          <p:txBody>
            <a:bodyPr vert="horz" wrap="square" lIns="54836" tIns="27417" rIns="54836" bIns="27417" anchor="ctr" anchorCtr="0"/>
            <a:p>
              <a:pPr algn="ctr">
                <a:buNone/>
              </a:pPr>
              <a:endParaRPr sz="1180" b="1" i="1" baseline="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8213" name="任意多边形 75"/>
            <p:cNvSpPr/>
            <p:nvPr>
              <p:custDataLst>
                <p:tags r:id="rId16"/>
              </p:custDataLst>
            </p:nvPr>
          </p:nvSpPr>
          <p:spPr>
            <a:xfrm>
              <a:off x="2740026" y="3594101"/>
              <a:ext cx="363537" cy="293687"/>
            </a:xfrm>
            <a:custGeom>
              <a:avLst/>
              <a:gdLst>
                <a:gd name="txL" fmla="*/ 0 w 613253"/>
                <a:gd name="txT" fmla="*/ 0 h 438850"/>
                <a:gd name="txR" fmla="*/ 613253 w 613253"/>
                <a:gd name="txB" fmla="*/ 438850 h 438850"/>
              </a:gdLst>
              <a:ahLst/>
              <a:cxnLst>
                <a:cxn ang="0">
                  <a:pos x="387898" y="243653"/>
                </a:cxn>
                <a:cxn ang="0">
                  <a:pos x="395944" y="271151"/>
                </a:cxn>
                <a:cxn ang="0">
                  <a:pos x="351715" y="369631"/>
                </a:cxn>
                <a:cxn ang="0">
                  <a:pos x="351092" y="369631"/>
                </a:cxn>
                <a:cxn ang="0">
                  <a:pos x="351529" y="370046"/>
                </a:cxn>
                <a:cxn ang="0">
                  <a:pos x="351093" y="371017"/>
                </a:cxn>
                <a:cxn ang="0">
                  <a:pos x="352550" y="371017"/>
                </a:cxn>
                <a:cxn ang="0">
                  <a:pos x="402076" y="418085"/>
                </a:cxn>
                <a:cxn ang="0">
                  <a:pos x="451601" y="371017"/>
                </a:cxn>
                <a:cxn ang="0">
                  <a:pos x="453059" y="371017"/>
                </a:cxn>
                <a:cxn ang="0">
                  <a:pos x="452623" y="370045"/>
                </a:cxn>
                <a:cxn ang="0">
                  <a:pos x="453059" y="369631"/>
                </a:cxn>
                <a:cxn ang="0">
                  <a:pos x="452437" y="369631"/>
                </a:cxn>
                <a:cxn ang="0">
                  <a:pos x="408207" y="271149"/>
                </a:cxn>
                <a:cxn ang="0">
                  <a:pos x="416253" y="243653"/>
                </a:cxn>
                <a:cxn ang="0">
                  <a:pos x="157406" y="216295"/>
                </a:cxn>
                <a:cxn ang="0">
                  <a:pos x="163926" y="238576"/>
                </a:cxn>
                <a:cxn ang="0">
                  <a:pos x="128088" y="318371"/>
                </a:cxn>
                <a:cxn ang="0">
                  <a:pos x="127583" y="318371"/>
                </a:cxn>
                <a:cxn ang="0">
                  <a:pos x="127937" y="318708"/>
                </a:cxn>
                <a:cxn ang="0">
                  <a:pos x="127584" y="319494"/>
                </a:cxn>
                <a:cxn ang="0">
                  <a:pos x="128765" y="319494"/>
                </a:cxn>
                <a:cxn ang="0">
                  <a:pos x="168894" y="357632"/>
                </a:cxn>
                <a:cxn ang="0">
                  <a:pos x="209023" y="319494"/>
                </a:cxn>
                <a:cxn ang="0">
                  <a:pos x="210205" y="319494"/>
                </a:cxn>
                <a:cxn ang="0">
                  <a:pos x="209851" y="318707"/>
                </a:cxn>
                <a:cxn ang="0">
                  <a:pos x="210204" y="318371"/>
                </a:cxn>
                <a:cxn ang="0">
                  <a:pos x="209701" y="318371"/>
                </a:cxn>
                <a:cxn ang="0">
                  <a:pos x="173862" y="238574"/>
                </a:cxn>
                <a:cxn ang="0">
                  <a:pos x="180381" y="216295"/>
                </a:cxn>
                <a:cxn ang="0">
                  <a:pos x="402620" y="0"/>
                </a:cxn>
                <a:cxn ang="0">
                  <a:pos x="515766" y="114905"/>
                </a:cxn>
                <a:cxn ang="0">
                  <a:pos x="454423" y="215466"/>
                </a:cxn>
                <a:cxn ang="0">
                  <a:pos x="454423" y="231044"/>
                </a:cxn>
                <a:cxn ang="0">
                  <a:pos x="613253" y="391500"/>
                </a:cxn>
                <a:cxn ang="0">
                  <a:pos x="398531" y="438850"/>
                </a:cxn>
                <a:cxn ang="0">
                  <a:pos x="193634" y="395700"/>
                </a:cxn>
                <a:cxn ang="0">
                  <a:pos x="203279" y="370444"/>
                </a:cxn>
                <a:cxn ang="0">
                  <a:pos x="166022" y="374457"/>
                </a:cxn>
                <a:cxn ang="0">
                  <a:pos x="0" y="339494"/>
                </a:cxn>
                <a:cxn ang="0">
                  <a:pos x="125154" y="207518"/>
                </a:cxn>
                <a:cxn ang="0">
                  <a:pos x="125154" y="191945"/>
                </a:cxn>
                <a:cxn ang="0">
                  <a:pos x="77656" y="111974"/>
                </a:cxn>
                <a:cxn ang="0">
                  <a:pos x="169335" y="18870"/>
                </a:cxn>
                <a:cxn ang="0">
                  <a:pos x="261014" y="111974"/>
                </a:cxn>
                <a:cxn ang="0">
                  <a:pos x="211310" y="193456"/>
                </a:cxn>
                <a:cxn ang="0">
                  <a:pos x="211310" y="206078"/>
                </a:cxn>
                <a:cxn ang="0">
                  <a:pos x="292834" y="252540"/>
                </a:cxn>
                <a:cxn ang="0">
                  <a:pos x="295048" y="255467"/>
                </a:cxn>
                <a:cxn ang="0">
                  <a:pos x="348094" y="232822"/>
                </a:cxn>
                <a:cxn ang="0">
                  <a:pos x="348094" y="213602"/>
                </a:cxn>
                <a:cxn ang="0">
                  <a:pos x="289474" y="114905"/>
                </a:cxn>
                <a:cxn ang="0">
                  <a:pos x="402620" y="0"/>
                </a:cxn>
              </a:cxnLst>
              <a:rect l="txL" t="txT" r="txR" b="txB"/>
              <a:pathLst>
                <a:path w="613253" h="438850">
                  <a:moveTo>
                    <a:pt x="387898" y="243653"/>
                  </a:moveTo>
                  <a:lnTo>
                    <a:pt x="395944" y="271151"/>
                  </a:lnTo>
                  <a:lnTo>
                    <a:pt x="351715" y="369631"/>
                  </a:lnTo>
                  <a:lnTo>
                    <a:pt x="351092" y="369631"/>
                  </a:lnTo>
                  <a:lnTo>
                    <a:pt x="351529" y="370046"/>
                  </a:lnTo>
                  <a:lnTo>
                    <a:pt x="351093" y="371017"/>
                  </a:lnTo>
                  <a:lnTo>
                    <a:pt x="352550" y="371017"/>
                  </a:lnTo>
                  <a:lnTo>
                    <a:pt x="402076" y="418085"/>
                  </a:lnTo>
                  <a:lnTo>
                    <a:pt x="451601" y="371017"/>
                  </a:lnTo>
                  <a:lnTo>
                    <a:pt x="453059" y="371017"/>
                  </a:lnTo>
                  <a:lnTo>
                    <a:pt x="452623" y="370045"/>
                  </a:lnTo>
                  <a:lnTo>
                    <a:pt x="453059" y="369631"/>
                  </a:lnTo>
                  <a:lnTo>
                    <a:pt x="452437" y="369631"/>
                  </a:lnTo>
                  <a:lnTo>
                    <a:pt x="408207" y="271149"/>
                  </a:lnTo>
                  <a:lnTo>
                    <a:pt x="416253" y="243653"/>
                  </a:lnTo>
                  <a:close/>
                  <a:moveTo>
                    <a:pt x="157406" y="216295"/>
                  </a:moveTo>
                  <a:lnTo>
                    <a:pt x="163926" y="238576"/>
                  </a:lnTo>
                  <a:lnTo>
                    <a:pt x="128088" y="318371"/>
                  </a:lnTo>
                  <a:lnTo>
                    <a:pt x="127583" y="318371"/>
                  </a:lnTo>
                  <a:lnTo>
                    <a:pt x="127937" y="318708"/>
                  </a:lnTo>
                  <a:lnTo>
                    <a:pt x="127584" y="319494"/>
                  </a:lnTo>
                  <a:lnTo>
                    <a:pt x="128765" y="319494"/>
                  </a:lnTo>
                  <a:lnTo>
                    <a:pt x="168894" y="357632"/>
                  </a:lnTo>
                  <a:lnTo>
                    <a:pt x="209023" y="319494"/>
                  </a:lnTo>
                  <a:lnTo>
                    <a:pt x="210205" y="319494"/>
                  </a:lnTo>
                  <a:lnTo>
                    <a:pt x="209851" y="318707"/>
                  </a:lnTo>
                  <a:lnTo>
                    <a:pt x="210204" y="318371"/>
                  </a:lnTo>
                  <a:lnTo>
                    <a:pt x="209701" y="318371"/>
                  </a:lnTo>
                  <a:lnTo>
                    <a:pt x="173862" y="238574"/>
                  </a:lnTo>
                  <a:lnTo>
                    <a:pt x="180381" y="216295"/>
                  </a:lnTo>
                  <a:close/>
                  <a:moveTo>
                    <a:pt x="402620" y="0"/>
                  </a:moveTo>
                  <a:cubicBezTo>
                    <a:pt x="465109" y="0"/>
                    <a:pt x="515766" y="51445"/>
                    <a:pt x="515766" y="114905"/>
                  </a:cubicBezTo>
                  <a:cubicBezTo>
                    <a:pt x="515766" y="159138"/>
                    <a:pt x="491155" y="197534"/>
                    <a:pt x="454423" y="215466"/>
                  </a:cubicBezTo>
                  <a:lnTo>
                    <a:pt x="454423" y="231044"/>
                  </a:lnTo>
                  <a:cubicBezTo>
                    <a:pt x="531505" y="249779"/>
                    <a:pt x="592702" y="311734"/>
                    <a:pt x="613253" y="391500"/>
                  </a:cubicBezTo>
                  <a:cubicBezTo>
                    <a:pt x="550688" y="422070"/>
                    <a:pt x="477097" y="438850"/>
                    <a:pt x="398531" y="438850"/>
                  </a:cubicBezTo>
                  <a:cubicBezTo>
                    <a:pt x="323987" y="438850"/>
                    <a:pt x="253921" y="423744"/>
                    <a:pt x="193634" y="395700"/>
                  </a:cubicBezTo>
                  <a:lnTo>
                    <a:pt x="203279" y="370444"/>
                  </a:lnTo>
                  <a:lnTo>
                    <a:pt x="166022" y="374457"/>
                  </a:lnTo>
                  <a:cubicBezTo>
                    <a:pt x="105620" y="374457"/>
                    <a:pt x="48848" y="362217"/>
                    <a:pt x="0" y="339494"/>
                  </a:cubicBezTo>
                  <a:cubicBezTo>
                    <a:pt x="15404" y="274815"/>
                    <a:pt x="63667" y="224043"/>
                    <a:pt x="125154" y="207518"/>
                  </a:cubicBezTo>
                  <a:lnTo>
                    <a:pt x="125154" y="191945"/>
                  </a:lnTo>
                  <a:cubicBezTo>
                    <a:pt x="96529" y="177233"/>
                    <a:pt x="77656" y="146842"/>
                    <a:pt x="77656" y="111974"/>
                  </a:cubicBezTo>
                  <a:cubicBezTo>
                    <a:pt x="77656" y="60554"/>
                    <a:pt x="118702" y="18870"/>
                    <a:pt x="169335" y="18870"/>
                  </a:cubicBezTo>
                  <a:cubicBezTo>
                    <a:pt x="219968" y="18870"/>
                    <a:pt x="261014" y="60554"/>
                    <a:pt x="261014" y="111974"/>
                  </a:cubicBezTo>
                  <a:cubicBezTo>
                    <a:pt x="261014" y="147815"/>
                    <a:pt x="241072" y="178926"/>
                    <a:pt x="211310" y="193456"/>
                  </a:cubicBezTo>
                  <a:lnTo>
                    <a:pt x="211310" y="206078"/>
                  </a:lnTo>
                  <a:cubicBezTo>
                    <a:pt x="242539" y="213668"/>
                    <a:pt x="270549" y="230014"/>
                    <a:pt x="292834" y="252540"/>
                  </a:cubicBezTo>
                  <a:lnTo>
                    <a:pt x="295048" y="255467"/>
                  </a:lnTo>
                  <a:lnTo>
                    <a:pt x="348094" y="232822"/>
                  </a:lnTo>
                  <a:lnTo>
                    <a:pt x="348094" y="213602"/>
                  </a:lnTo>
                  <a:cubicBezTo>
                    <a:pt x="312767" y="195444"/>
                    <a:pt x="289474" y="157937"/>
                    <a:pt x="289474" y="114905"/>
                  </a:cubicBezTo>
                  <a:cubicBezTo>
                    <a:pt x="289474" y="51445"/>
                    <a:pt x="340131" y="0"/>
                    <a:pt x="402620" y="0"/>
                  </a:cubicBezTo>
                  <a:close/>
                </a:path>
              </a:pathLst>
            </a:custGeom>
            <a:solidFill>
              <a:schemeClr val="accent5"/>
            </a:solidFill>
            <a:ln w="9525">
              <a:noFill/>
            </a:ln>
          </p:spPr>
          <p:txBody>
            <a:bodyPr anchor="ctr" anchorCtr="0"/>
            <a:p>
              <a:pPr algn="ctr">
                <a:buNone/>
              </a:pPr>
              <a:endParaRPr sz="1350" b="1" i="1" baseline="0">
                <a:solidFill>
                  <a:srgbClr val="FFFFFF"/>
                </a:solidFill>
                <a:latin typeface="微软雅黑" panose="020B0503020204020204" charset="-122"/>
                <a:ea typeface="微软雅黑" panose="020B0503020204020204" charset="-122"/>
                <a:sym typeface="微软雅黑" panose="020B0503020204020204" charset="-122"/>
              </a:endParaRPr>
            </a:p>
          </p:txBody>
        </p:sp>
      </p:grpSp>
      <p:sp>
        <p:nvSpPr>
          <p:cNvPr id="8214" name="矩形 112"/>
          <p:cNvSpPr/>
          <p:nvPr>
            <p:custDataLst>
              <p:tags r:id="rId17"/>
            </p:custDataLst>
          </p:nvPr>
        </p:nvSpPr>
        <p:spPr>
          <a:xfrm>
            <a:off x="3101239" y="2019740"/>
            <a:ext cx="1066983" cy="656332"/>
          </a:xfrm>
          <a:prstGeom prst="rect">
            <a:avLst/>
          </a:prstGeom>
          <a:noFill/>
          <a:ln w="9525">
            <a:noFill/>
          </a:ln>
        </p:spPr>
        <p:txBody>
          <a:bodyPr wrap="square" lIns="0" tIns="0" rIns="0" bIns="0" anchor="ctr">
            <a:noAutofit/>
          </a:bodyPr>
          <a:p>
            <a:pPr defTabSz="457200">
              <a:lnSpc>
                <a:spcPct val="150000"/>
              </a:lnSpc>
              <a:buClr>
                <a:schemeClr val="tx1"/>
              </a:buClr>
              <a:buFont typeface="Wingdings" panose="05000000000000000000" pitchFamily="2" charset="2"/>
              <a:tabLst>
                <a:tab pos="285750" algn="l"/>
              </a:tabLst>
            </a:pPr>
            <a:r>
              <a:rPr lang="zh-CN" altLang="en-US" sz="1350" dirty="0">
                <a:latin typeface="微软雅黑" panose="020B0503020204020204" charset="-122"/>
                <a:ea typeface="微软雅黑" panose="020B0503020204020204" charset="-122"/>
                <a:sym typeface="微软雅黑" panose="020B0503020204020204" charset="-122"/>
              </a:rPr>
              <a:t>合作保司</a:t>
            </a:r>
            <a:endParaRPr lang="zh-CN" altLang="en-US" sz="1350" dirty="0">
              <a:latin typeface="微软雅黑" panose="020B0503020204020204" charset="-122"/>
              <a:ea typeface="微软雅黑" panose="020B0503020204020204" charset="-122"/>
              <a:sym typeface="微软雅黑" panose="020B0503020204020204" charset="-122"/>
            </a:endParaRPr>
          </a:p>
          <a:p>
            <a:pPr defTabSz="457200">
              <a:lnSpc>
                <a:spcPct val="150000"/>
              </a:lnSpc>
              <a:buClr>
                <a:schemeClr val="tx1"/>
              </a:buClr>
              <a:buFont typeface="Wingdings" panose="05000000000000000000" pitchFamily="2" charset="2"/>
              <a:tabLst>
                <a:tab pos="285750" algn="l"/>
              </a:tabLst>
            </a:pPr>
            <a:r>
              <a:rPr lang="en-US" altLang="zh-CN" sz="2025" b="1" dirty="0">
                <a:solidFill>
                  <a:srgbClr val="FF0000"/>
                </a:solidFill>
                <a:latin typeface="微软雅黑" panose="020B0503020204020204" charset="-122"/>
                <a:ea typeface="微软雅黑" panose="020B0503020204020204" charset="-122"/>
                <a:sym typeface="微软雅黑" panose="020B0503020204020204" charset="-122"/>
              </a:rPr>
              <a:t>100+</a:t>
            </a:r>
            <a:endParaRPr lang="en-US" altLang="zh-CN" sz="2025" b="1" i="1" baseline="0" dirty="0">
              <a:solidFill>
                <a:srgbClr val="FF0000"/>
              </a:solidFill>
              <a:latin typeface="微软雅黑" panose="020B0503020204020204" charset="-122"/>
              <a:ea typeface="微软雅黑" panose="020B0503020204020204" charset="-122"/>
              <a:sym typeface="微软雅黑" panose="020B0503020204020204" charset="-122"/>
            </a:endParaRPr>
          </a:p>
        </p:txBody>
      </p:sp>
      <p:grpSp>
        <p:nvGrpSpPr>
          <p:cNvPr id="6" name="Group 3"/>
          <p:cNvGrpSpPr/>
          <p:nvPr/>
        </p:nvGrpSpPr>
        <p:grpSpPr>
          <a:xfrm>
            <a:off x="2385373" y="2064814"/>
            <a:ext cx="566184" cy="566184"/>
            <a:chOff x="2632075" y="2073275"/>
            <a:chExt cx="536575" cy="477838"/>
          </a:xfrm>
        </p:grpSpPr>
        <p:sp>
          <p:nvSpPr>
            <p:cNvPr id="8198" name="Oval 8"/>
            <p:cNvSpPr/>
            <p:nvPr>
              <p:custDataLst>
                <p:tags r:id="rId18"/>
              </p:custDataLst>
            </p:nvPr>
          </p:nvSpPr>
          <p:spPr>
            <a:xfrm>
              <a:off x="2632075" y="2073275"/>
              <a:ext cx="536575" cy="477838"/>
            </a:xfrm>
            <a:prstGeom prst="ellipse">
              <a:avLst/>
            </a:prstGeom>
            <a:solidFill>
              <a:schemeClr val="bg1"/>
            </a:solidFill>
            <a:ln w="9525">
              <a:noFill/>
            </a:ln>
          </p:spPr>
          <p:txBody>
            <a:bodyPr vert="horz" wrap="square" lIns="54836" tIns="27417" rIns="54836" bIns="27417" anchor="ctr" anchorCtr="0"/>
            <a:p>
              <a:pPr algn="ctr">
                <a:buNone/>
              </a:pPr>
              <a:endParaRPr sz="1180" b="1" i="1" baseline="0">
                <a:solidFill>
                  <a:srgbClr val="FFFFFF"/>
                </a:solidFill>
                <a:latin typeface="微软雅黑" panose="020B0503020204020204" charset="-122"/>
                <a:ea typeface="微软雅黑" panose="020B0503020204020204" charset="-122"/>
                <a:sym typeface="微软雅黑" panose="020B0503020204020204" charset="-122"/>
              </a:endParaRPr>
            </a:p>
          </p:txBody>
        </p:sp>
        <p:pic>
          <p:nvPicPr>
            <p:cNvPr id="8215" name="图片 3" descr="3b333635383736383bbacfd7f7"/>
            <p:cNvPicPr>
              <a:picLocks noChangeAspect="1"/>
            </p:cNvPicPr>
            <p:nvPr>
              <p:custDataLst>
                <p:tags r:id="rId19"/>
              </p:custDataLst>
            </p:nvPr>
          </p:nvPicPr>
          <p:blipFill>
            <a:blip r:embed="rId20">
              <a:extLst>
                <a:ext uri="{BEBA8EAE-BF5A-486C-A8C5-ECC9F3942E4B}">
                  <a14:imgProps xmlns:a14="http://schemas.microsoft.com/office/drawing/2010/main">
                    <a14:imgLayer r:embed="rId21">
                      <a14:imgEffect>
                        <a14:saturation sat="0"/>
                      </a14:imgEffect>
                    </a14:imgLayer>
                  </a14:imgProps>
                </a:ext>
              </a:extLst>
            </a:blip>
            <a:stretch>
              <a:fillRect/>
            </a:stretch>
          </p:blipFill>
          <p:spPr>
            <a:xfrm>
              <a:off x="2744787" y="2156619"/>
              <a:ext cx="311150" cy="311150"/>
            </a:xfrm>
            <a:prstGeom prst="rect">
              <a:avLst/>
            </a:prstGeom>
            <a:noFill/>
            <a:ln w="9525">
              <a:noFill/>
            </a:ln>
          </p:spPr>
        </p:pic>
      </p:grpSp>
      <p:sp>
        <p:nvSpPr>
          <p:cNvPr id="8200" name="矩形 112"/>
          <p:cNvSpPr/>
          <p:nvPr>
            <p:custDataLst>
              <p:tags r:id="rId22"/>
            </p:custDataLst>
          </p:nvPr>
        </p:nvSpPr>
        <p:spPr>
          <a:xfrm>
            <a:off x="3101239" y="1219357"/>
            <a:ext cx="1066983" cy="656332"/>
          </a:xfrm>
          <a:prstGeom prst="rect">
            <a:avLst/>
          </a:prstGeom>
          <a:noFill/>
          <a:ln w="9525">
            <a:noFill/>
          </a:ln>
        </p:spPr>
        <p:txBody>
          <a:bodyPr wrap="square" lIns="0" tIns="0" rIns="0" bIns="0" anchor="ctr">
            <a:noAutofit/>
          </a:bodyPr>
          <a:p>
            <a:pPr defTabSz="457200">
              <a:lnSpc>
                <a:spcPct val="150000"/>
              </a:lnSpc>
              <a:buClr>
                <a:schemeClr val="tx1"/>
              </a:buClr>
              <a:buFont typeface="Wingdings" panose="05000000000000000000" pitchFamily="2" charset="2"/>
              <a:tabLst>
                <a:tab pos="285750" algn="l"/>
              </a:tabLst>
            </a:pPr>
            <a:r>
              <a:rPr lang="zh-CN" altLang="en-US" sz="1350" dirty="0">
                <a:latin typeface="微软雅黑" panose="020B0503020204020204" charset="-122"/>
                <a:ea typeface="微软雅黑" panose="020B0503020204020204" charset="-122"/>
                <a:sym typeface="微软雅黑" panose="020B0503020204020204" charset="-122"/>
              </a:rPr>
              <a:t>保险经纪人</a:t>
            </a:r>
            <a:r>
              <a:rPr lang="en-US" altLang="zh-CN" sz="2025" b="1" dirty="0">
                <a:solidFill>
                  <a:srgbClr val="FF0000"/>
                </a:solidFill>
                <a:latin typeface="微软雅黑" panose="020B0503020204020204" charset="-122"/>
                <a:ea typeface="微软雅黑" panose="020B0503020204020204" charset="-122"/>
                <a:sym typeface="微软雅黑" panose="020B0503020204020204" charset="-122"/>
              </a:rPr>
              <a:t>8000+</a:t>
            </a:r>
            <a:endParaRPr lang="en-US" altLang="zh-CN" sz="2025" b="1" i="1" baseline="0" dirty="0">
              <a:solidFill>
                <a:srgbClr val="FF0000"/>
              </a:solidFill>
              <a:latin typeface="微软雅黑" panose="020B0503020204020204" charset="-122"/>
              <a:ea typeface="微软雅黑" panose="020B0503020204020204" charset="-122"/>
              <a:sym typeface="微软雅黑" panose="020B0503020204020204" charset="-122"/>
            </a:endParaRPr>
          </a:p>
        </p:txBody>
      </p:sp>
      <p:grpSp>
        <p:nvGrpSpPr>
          <p:cNvPr id="9" name="Group 2"/>
          <p:cNvGrpSpPr/>
          <p:nvPr/>
        </p:nvGrpSpPr>
        <p:grpSpPr>
          <a:xfrm>
            <a:off x="2385373" y="1264431"/>
            <a:ext cx="566184" cy="566184"/>
            <a:chOff x="2654300" y="644525"/>
            <a:chExt cx="534988" cy="479425"/>
          </a:xfrm>
        </p:grpSpPr>
        <p:sp>
          <p:nvSpPr>
            <p:cNvPr id="8199" name="Oval 6"/>
            <p:cNvSpPr/>
            <p:nvPr>
              <p:custDataLst>
                <p:tags r:id="rId23"/>
              </p:custDataLst>
            </p:nvPr>
          </p:nvSpPr>
          <p:spPr>
            <a:xfrm>
              <a:off x="2654300" y="644525"/>
              <a:ext cx="534988" cy="479425"/>
            </a:xfrm>
            <a:prstGeom prst="ellipse">
              <a:avLst/>
            </a:prstGeom>
            <a:solidFill>
              <a:schemeClr val="bg1"/>
            </a:solidFill>
            <a:ln w="9525">
              <a:noFill/>
            </a:ln>
          </p:spPr>
          <p:txBody>
            <a:bodyPr vert="horz" wrap="square" lIns="54836" tIns="27417" rIns="54836" bIns="27417" anchor="ctr" anchorCtr="0"/>
            <a:p>
              <a:pPr algn="ctr">
                <a:buNone/>
              </a:pPr>
              <a:endParaRPr sz="1180" b="1" i="1" baseline="0">
                <a:solidFill>
                  <a:srgbClr val="FFFFFF"/>
                </a:solidFill>
                <a:latin typeface="微软雅黑" panose="020B0503020204020204" charset="-122"/>
                <a:ea typeface="微软雅黑" panose="020B0503020204020204" charset="-122"/>
                <a:sym typeface="微软雅黑" panose="020B0503020204020204" charset="-122"/>
              </a:endParaRPr>
            </a:p>
          </p:txBody>
        </p:sp>
        <p:pic>
          <p:nvPicPr>
            <p:cNvPr id="8216" name="图片 4" descr="3b32313534303535333bc8cbd4b1b9d8cfb5"/>
            <p:cNvPicPr>
              <a:picLocks noChangeAspect="1"/>
            </p:cNvPicPr>
            <p:nvPr>
              <p:custDataLst>
                <p:tags r:id="rId24"/>
              </p:custDataLst>
            </p:nvPr>
          </p:nvPicPr>
          <p:blipFill>
            <a:blip r:embed="rId25">
              <a:duotone>
                <a:schemeClr val="accent4">
                  <a:shade val="45000"/>
                  <a:satMod val="135000"/>
                </a:schemeClr>
                <a:prstClr val="white"/>
              </a:duotone>
            </a:blip>
            <a:stretch>
              <a:fillRect/>
            </a:stretch>
          </p:blipFill>
          <p:spPr>
            <a:xfrm>
              <a:off x="2747963" y="710406"/>
              <a:ext cx="347663" cy="347662"/>
            </a:xfrm>
            <a:prstGeom prst="rect">
              <a:avLst/>
            </a:prstGeom>
            <a:noFill/>
            <a:ln w="9525">
              <a:noFill/>
            </a:ln>
          </p:spPr>
        </p:pic>
      </p:grpSp>
      <p:sp>
        <p:nvSpPr>
          <p:cNvPr id="10" name="矩形 112"/>
          <p:cNvSpPr/>
          <p:nvPr>
            <p:custDataLst>
              <p:tags r:id="rId26"/>
            </p:custDataLst>
          </p:nvPr>
        </p:nvSpPr>
        <p:spPr>
          <a:xfrm>
            <a:off x="3099425" y="3596808"/>
            <a:ext cx="1066983" cy="656332"/>
          </a:xfrm>
          <a:prstGeom prst="rect">
            <a:avLst/>
          </a:prstGeom>
          <a:noFill/>
          <a:ln w="9525">
            <a:noFill/>
          </a:ln>
        </p:spPr>
        <p:txBody>
          <a:bodyPr wrap="square" lIns="0" tIns="0" rIns="0" bIns="0" anchor="ctr">
            <a:noAutofit/>
          </a:bodyPr>
          <a:p>
            <a:pPr defTabSz="457200">
              <a:lnSpc>
                <a:spcPct val="150000"/>
              </a:lnSpc>
              <a:buClr>
                <a:schemeClr val="tx1"/>
              </a:buClr>
              <a:buFont typeface="Wingdings" panose="05000000000000000000" pitchFamily="2" charset="2"/>
              <a:tabLst>
                <a:tab pos="285750" algn="l"/>
              </a:tabLst>
            </a:pPr>
            <a:r>
              <a:rPr lang="zh-CN" altLang="en-US" sz="1350" dirty="0">
                <a:latin typeface="微软雅黑" panose="020B0503020204020204" charset="-122"/>
                <a:ea typeface="微软雅黑" panose="020B0503020204020204" charset="-122"/>
                <a:sym typeface="微软雅黑" panose="020B0503020204020204" charset="-122"/>
              </a:rPr>
              <a:t>营收规模</a:t>
            </a:r>
            <a:endParaRPr lang="zh-CN" altLang="en-US" sz="1350" dirty="0">
              <a:latin typeface="微软雅黑" panose="020B0503020204020204" charset="-122"/>
              <a:ea typeface="微软雅黑" panose="020B0503020204020204" charset="-122"/>
              <a:sym typeface="微软雅黑" panose="020B0503020204020204" charset="-122"/>
            </a:endParaRPr>
          </a:p>
          <a:p>
            <a:pPr defTabSz="457200">
              <a:lnSpc>
                <a:spcPct val="150000"/>
              </a:lnSpc>
              <a:buClr>
                <a:schemeClr val="tx1"/>
              </a:buClr>
              <a:buFont typeface="Wingdings" panose="05000000000000000000" pitchFamily="2" charset="2"/>
              <a:tabLst>
                <a:tab pos="285750" algn="l"/>
              </a:tabLst>
            </a:pPr>
            <a:r>
              <a:rPr lang="en-US" altLang="zh-CN" sz="2025" b="1" dirty="0">
                <a:solidFill>
                  <a:srgbClr val="FF0000"/>
                </a:solidFill>
                <a:latin typeface="微软雅黑" panose="020B0503020204020204" charset="-122"/>
                <a:ea typeface="微软雅黑" panose="020B0503020204020204" charset="-122"/>
                <a:sym typeface="微软雅黑" panose="020B0503020204020204" charset="-122"/>
              </a:rPr>
              <a:t>30</a:t>
            </a:r>
            <a:r>
              <a:rPr lang="zh-CN" altLang="en-US" sz="2025" b="1" dirty="0">
                <a:solidFill>
                  <a:srgbClr val="FF0000"/>
                </a:solidFill>
                <a:latin typeface="微软雅黑" panose="020B0503020204020204" charset="-122"/>
                <a:ea typeface="微软雅黑" panose="020B0503020204020204" charset="-122"/>
                <a:sym typeface="微软雅黑" panose="020B0503020204020204" charset="-122"/>
              </a:rPr>
              <a:t>亿</a:t>
            </a:r>
            <a:r>
              <a:rPr lang="en-US" altLang="zh-CN" sz="2025" b="1" dirty="0">
                <a:solidFill>
                  <a:srgbClr val="FF0000"/>
                </a:solidFill>
                <a:latin typeface="微软雅黑" panose="020B0503020204020204" charset="-122"/>
                <a:ea typeface="微软雅黑" panose="020B0503020204020204" charset="-122"/>
                <a:sym typeface="微软雅黑" panose="020B0503020204020204" charset="-122"/>
              </a:rPr>
              <a:t>+</a:t>
            </a:r>
            <a:endParaRPr lang="en-US" altLang="zh-CN" sz="2025" b="1" i="1" baseline="0" dirty="0">
              <a:solidFill>
                <a:srgbClr val="FF0000"/>
              </a:solidFill>
              <a:latin typeface="微软雅黑" panose="020B0503020204020204" charset="-122"/>
              <a:ea typeface="微软雅黑" panose="020B0503020204020204" charset="-122"/>
              <a:sym typeface="微软雅黑" panose="020B0503020204020204" charset="-122"/>
            </a:endParaRPr>
          </a:p>
        </p:txBody>
      </p:sp>
      <p:grpSp>
        <p:nvGrpSpPr>
          <p:cNvPr id="11" name="Group 3"/>
          <p:cNvGrpSpPr/>
          <p:nvPr/>
        </p:nvGrpSpPr>
        <p:grpSpPr>
          <a:xfrm>
            <a:off x="2373580" y="3641881"/>
            <a:ext cx="566184" cy="566184"/>
            <a:chOff x="2632075" y="2073275"/>
            <a:chExt cx="536575" cy="477838"/>
          </a:xfrm>
        </p:grpSpPr>
        <p:sp>
          <p:nvSpPr>
            <p:cNvPr id="12" name="Oval 8"/>
            <p:cNvSpPr/>
            <p:nvPr>
              <p:custDataLst>
                <p:tags r:id="rId27"/>
              </p:custDataLst>
            </p:nvPr>
          </p:nvSpPr>
          <p:spPr>
            <a:xfrm>
              <a:off x="2632075" y="2073275"/>
              <a:ext cx="536575" cy="477838"/>
            </a:xfrm>
            <a:prstGeom prst="ellipse">
              <a:avLst/>
            </a:prstGeom>
            <a:solidFill>
              <a:schemeClr val="bg1"/>
            </a:solidFill>
            <a:ln w="9525">
              <a:noFill/>
            </a:ln>
          </p:spPr>
          <p:txBody>
            <a:bodyPr vert="horz" wrap="square" lIns="54836" tIns="27417" rIns="54836" bIns="27417" anchor="ctr" anchorCtr="0"/>
            <a:p>
              <a:pPr algn="ctr">
                <a:buNone/>
              </a:pPr>
              <a:endParaRPr sz="1180" b="1" i="1" baseline="0">
                <a:solidFill>
                  <a:srgbClr val="FFFFFF"/>
                </a:solidFill>
                <a:latin typeface="微软雅黑" panose="020B0503020204020204" charset="-122"/>
                <a:ea typeface="微软雅黑" panose="020B0503020204020204" charset="-122"/>
                <a:sym typeface="微软雅黑" panose="020B0503020204020204" charset="-122"/>
              </a:endParaRPr>
            </a:p>
          </p:txBody>
        </p:sp>
        <p:pic>
          <p:nvPicPr>
            <p:cNvPr id="13" name="图片 3" descr="3b333635383736383bbacfd7f7"/>
            <p:cNvPicPr>
              <a:picLocks noChangeAspect="1"/>
            </p:cNvPicPr>
            <p:nvPr>
              <p:custDataLst>
                <p:tags r:id="rId28"/>
              </p:custDataLst>
            </p:nvPr>
          </p:nvPicPr>
          <p:blipFill>
            <a:blip r:embed="rId20">
              <a:extLst>
                <a:ext uri="{BEBA8EAE-BF5A-486C-A8C5-ECC9F3942E4B}">
                  <a14:imgProps xmlns:a14="http://schemas.microsoft.com/office/drawing/2010/main">
                    <a14:imgLayer r:embed="rId21">
                      <a14:imgEffect>
                        <a14:saturation sat="0"/>
                      </a14:imgEffect>
                    </a14:imgLayer>
                  </a14:imgProps>
                </a:ext>
              </a:extLst>
            </a:blip>
            <a:stretch>
              <a:fillRect/>
            </a:stretch>
          </p:blipFill>
          <p:spPr>
            <a:xfrm>
              <a:off x="2744787" y="2156619"/>
              <a:ext cx="311150" cy="311150"/>
            </a:xfrm>
            <a:prstGeom prst="rect">
              <a:avLst/>
            </a:prstGeom>
            <a:noFill/>
            <a:ln w="9525">
              <a:noFill/>
            </a:ln>
          </p:spPr>
        </p:pic>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1800" dirty="0">
                <a:solidFill>
                  <a:srgbClr val="C00000"/>
                </a:solidFill>
                <a:latin typeface="微软雅黑" panose="020B0503020204020204" charset="-122"/>
                <a:ea typeface="微软雅黑" panose="020B0503020204020204" charset="-122"/>
              </a:rPr>
              <a:t>公司简介</a:t>
            </a:r>
            <a:endParaRPr lang="zh-CN" altLang="en-US" sz="1800" dirty="0">
              <a:solidFill>
                <a:srgbClr val="C00000"/>
              </a:solidFill>
              <a:latin typeface="微软雅黑" panose="020B0503020204020204" charset="-122"/>
              <a:ea typeface="微软雅黑" panose="020B0503020204020204" charset="-122"/>
            </a:endParaRPr>
          </a:p>
        </p:txBody>
      </p:sp>
      <p:pic>
        <p:nvPicPr>
          <p:cNvPr id="5" name="图片 4" descr="微信截图_20240604155649"/>
          <p:cNvPicPr>
            <a:picLocks noChangeAspect="1"/>
          </p:cNvPicPr>
          <p:nvPr>
            <p:custDataLst>
              <p:tags r:id="rId1"/>
            </p:custDataLst>
          </p:nvPr>
        </p:nvPicPr>
        <p:blipFill>
          <a:blip r:embed="rId2"/>
          <a:stretch>
            <a:fillRect/>
          </a:stretch>
        </p:blipFill>
        <p:spPr>
          <a:xfrm>
            <a:off x="7376795" y="4498340"/>
            <a:ext cx="1764030" cy="645160"/>
          </a:xfrm>
          <a:prstGeom prst="rect">
            <a:avLst/>
          </a:prstGeom>
        </p:spPr>
      </p:pic>
      <p:pic>
        <p:nvPicPr>
          <p:cNvPr id="24578" name="图片 51" descr="C:\Users\18071405787\Desktop\07d8f392fed6e969d2c25a934c9f1f0.png07d8f392fed6e969d2c25a934c9f1f0"/>
          <p:cNvPicPr>
            <a:picLocks noChangeAspect="1"/>
          </p:cNvPicPr>
          <p:nvPr>
            <p:custDataLst>
              <p:tags r:id="rId3"/>
            </p:custDataLst>
          </p:nvPr>
        </p:nvPicPr>
        <p:blipFill>
          <a:blip r:embed="rId4"/>
          <a:stretch>
            <a:fillRect/>
          </a:stretch>
        </p:blipFill>
        <p:spPr>
          <a:xfrm>
            <a:off x="799118" y="825907"/>
            <a:ext cx="4274194" cy="3674119"/>
          </a:xfrm>
          <a:prstGeom prst="rect">
            <a:avLst/>
          </a:prstGeom>
          <a:noFill/>
          <a:ln w="9525">
            <a:noFill/>
          </a:ln>
        </p:spPr>
      </p:pic>
      <p:sp>
        <p:nvSpPr>
          <p:cNvPr id="24579" name="矩形 1"/>
          <p:cNvSpPr/>
          <p:nvPr>
            <p:custDataLst>
              <p:tags r:id="rId5"/>
            </p:custDataLst>
          </p:nvPr>
        </p:nvSpPr>
        <p:spPr>
          <a:xfrm>
            <a:off x="7181255" y="3948619"/>
            <a:ext cx="660351" cy="111174"/>
          </a:xfrm>
          <a:prstGeom prst="rect">
            <a:avLst/>
          </a:prstGeom>
          <a:solidFill>
            <a:srgbClr val="FFFFFF"/>
          </a:solidFill>
          <a:ln w="9525">
            <a:noFill/>
          </a:ln>
        </p:spPr>
        <p:txBody>
          <a:bodyPr anchor="t" anchorCtr="0"/>
          <a:p>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24580" name="文本框 8"/>
          <p:cNvSpPr/>
          <p:nvPr>
            <p:custDataLst>
              <p:tags r:id="rId6"/>
            </p:custDataLst>
          </p:nvPr>
        </p:nvSpPr>
        <p:spPr>
          <a:xfrm>
            <a:off x="5384800" y="1292225"/>
            <a:ext cx="3054985" cy="3141345"/>
          </a:xfrm>
          <a:prstGeom prst="rect">
            <a:avLst/>
          </a:prstGeom>
          <a:noFill/>
          <a:ln w="9525">
            <a:noFill/>
          </a:ln>
        </p:spPr>
        <p:txBody>
          <a:bodyPr wrap="square" anchor="t" anchorCtr="0"/>
          <a:p>
            <a:pPr algn="l">
              <a:lnSpc>
                <a:spcPct val="150000"/>
              </a:lnSpc>
            </a:pPr>
            <a:r>
              <a:rPr lang="zh-CN" altLang="en-US" sz="1200" b="1" dirty="0">
                <a:solidFill>
                  <a:srgbClr val="0070C0"/>
                </a:solidFill>
                <a:latin typeface="微软雅黑" panose="020B0503020204020204" charset="-122"/>
                <a:ea typeface="微软雅黑" panose="020B0503020204020204" charset="-122"/>
                <a:sym typeface="微软雅黑" panose="020B0503020204020204" charset="-122"/>
              </a:rPr>
              <a:t>省级分支机构共19家：</a:t>
            </a:r>
            <a:endParaRPr lang="zh-CN" altLang="en-US" sz="1200" b="1" dirty="0">
              <a:solidFill>
                <a:srgbClr val="0070C0"/>
              </a:solidFill>
              <a:latin typeface="微软雅黑" panose="020B0503020204020204" charset="-122"/>
              <a:ea typeface="微软雅黑" panose="020B0503020204020204" charset="-122"/>
              <a:sym typeface="微软雅黑" panose="020B0503020204020204" charset="-122"/>
            </a:endParaRPr>
          </a:p>
          <a:p>
            <a:pPr algn="l">
              <a:lnSpc>
                <a:spcPct val="150000"/>
              </a:lnSpc>
            </a:pPr>
            <a:r>
              <a:rPr lang="zh-CN" altLang="en-US" sz="1200" dirty="0">
                <a:latin typeface="微软雅黑" panose="020B0503020204020204" charset="-122"/>
                <a:ea typeface="微软雅黑" panose="020B0503020204020204" charset="-122"/>
                <a:sym typeface="微软雅黑" panose="020B0503020204020204" charset="-122"/>
              </a:rPr>
              <a:t>北京、天津、上海、重庆、深圳、辽宁、内蒙古、山东、河北、河南、湖北、湖南、安徽、江西、福建、江苏、广州、云南、四川。</a:t>
            </a:r>
            <a:br>
              <a:rPr lang="en-US" altLang="zh-CN" sz="1200" dirty="0">
                <a:latin typeface="微软雅黑" panose="020B0503020204020204" charset="-122"/>
                <a:ea typeface="微软雅黑" panose="020B0503020204020204" charset="-122"/>
                <a:sym typeface="微软雅黑" panose="020B0503020204020204" charset="-122"/>
              </a:rPr>
            </a:br>
            <a:endParaRPr lang="zh-CN" altLang="en-US" sz="1200" dirty="0">
              <a:latin typeface="微软雅黑" panose="020B0503020204020204" charset="-122"/>
              <a:ea typeface="微软雅黑" panose="020B0503020204020204" charset="-122"/>
              <a:sym typeface="微软雅黑" panose="020B0503020204020204" charset="-122"/>
            </a:endParaRPr>
          </a:p>
          <a:p>
            <a:pPr algn="l">
              <a:lnSpc>
                <a:spcPct val="150000"/>
              </a:lnSpc>
            </a:pPr>
            <a:r>
              <a:rPr lang="zh-CN" altLang="en-US" sz="1200" b="1" dirty="0">
                <a:solidFill>
                  <a:srgbClr val="0070C0"/>
                </a:solidFill>
                <a:latin typeface="微软雅黑" panose="020B0503020204020204" charset="-122"/>
                <a:ea typeface="微软雅黑" panose="020B0503020204020204" charset="-122"/>
                <a:sym typeface="微软雅黑" panose="020B0503020204020204" charset="-122"/>
              </a:rPr>
              <a:t>地市分支机构共</a:t>
            </a:r>
            <a:r>
              <a:rPr lang="en-US" altLang="zh-CN" sz="1200" b="1" dirty="0">
                <a:solidFill>
                  <a:srgbClr val="0070C0"/>
                </a:solidFill>
                <a:latin typeface="微软雅黑" panose="020B0503020204020204" charset="-122"/>
                <a:ea typeface="微软雅黑" panose="020B0503020204020204" charset="-122"/>
                <a:sym typeface="微软雅黑" panose="020B0503020204020204" charset="-122"/>
              </a:rPr>
              <a:t>20</a:t>
            </a:r>
            <a:r>
              <a:rPr lang="zh-CN" altLang="en-US" sz="1200" b="1" dirty="0">
                <a:solidFill>
                  <a:srgbClr val="0070C0"/>
                </a:solidFill>
                <a:latin typeface="微软雅黑" panose="020B0503020204020204" charset="-122"/>
                <a:ea typeface="微软雅黑" panose="020B0503020204020204" charset="-122"/>
                <a:sym typeface="微软雅黑" panose="020B0503020204020204" charset="-122"/>
              </a:rPr>
              <a:t>家：</a:t>
            </a:r>
            <a:endParaRPr lang="zh-CN" altLang="en-US" sz="1200" b="1" dirty="0">
              <a:solidFill>
                <a:srgbClr val="0070C0"/>
              </a:solidFill>
              <a:latin typeface="微软雅黑" panose="020B0503020204020204" charset="-122"/>
              <a:ea typeface="微软雅黑" panose="020B0503020204020204" charset="-122"/>
              <a:sym typeface="微软雅黑" panose="020B0503020204020204" charset="-122"/>
            </a:endParaRPr>
          </a:p>
          <a:p>
            <a:pPr algn="l">
              <a:lnSpc>
                <a:spcPct val="150000"/>
              </a:lnSpc>
            </a:pPr>
            <a:r>
              <a:rPr lang="zh-CN" altLang="en-US" sz="1200" dirty="0">
                <a:latin typeface="微软雅黑" panose="020B0503020204020204" charset="-122"/>
                <a:ea typeface="微软雅黑" panose="020B0503020204020204" charset="-122"/>
                <a:sym typeface="微软雅黑" panose="020B0503020204020204" charset="-122"/>
              </a:rPr>
              <a:t>恩施、武汉、江汉、武昌、襄阳、咸宁、孝感、天门、荆州、宜昌、沈阳、辽宁第一分公司、营口、辽宁第二分公司、昆明、南阳、成都、宜春、赣州、抚州。</a:t>
            </a:r>
            <a:endParaRPr lang="zh-CN" altLang="en-US" sz="1200" dirty="0">
              <a:latin typeface="微软雅黑" panose="020B0503020204020204" charset="-122"/>
              <a:ea typeface="微软雅黑" panose="020B0503020204020204" charset="-122"/>
              <a:sym typeface="微软雅黑" panose="020B0503020204020204" charset="-122"/>
            </a:endParaRPr>
          </a:p>
        </p:txBody>
      </p:sp>
      <p:sp>
        <p:nvSpPr>
          <p:cNvPr id="4" name="textbox 104"/>
          <p:cNvSpPr/>
          <p:nvPr>
            <p:custDataLst>
              <p:tags r:id="rId7"/>
            </p:custDataLst>
          </p:nvPr>
        </p:nvSpPr>
        <p:spPr>
          <a:xfrm>
            <a:off x="5314315" y="762635"/>
            <a:ext cx="3173095" cy="520065"/>
          </a:xfrm>
          <a:prstGeom prst="rect">
            <a:avLst/>
          </a:prstGeom>
        </p:spPr>
        <p:txBody>
          <a:bodyPr vert="horz" wrap="square" lIns="0" tIns="0" rIns="0" bIns="0">
            <a:spAutoFit/>
          </a:bodyPr>
          <a:p>
            <a:pPr marL="12700" algn="ctr" rtl="0" eaLnBrk="0">
              <a:lnSpc>
                <a:spcPct val="94000"/>
              </a:lnSpc>
            </a:pPr>
            <a:r>
              <a:rPr lang="zh-CN" altLang="en-US" sz="1800" b="1" kern="0" spc="90" dirty="0">
                <a:solidFill>
                  <a:srgbClr val="0070C0">
                    <a:alpha val="100000"/>
                  </a:srgbClr>
                </a:solidFill>
                <a:latin typeface="微软雅黑" panose="020B0503020204020204" charset="-122"/>
                <a:ea typeface="微软雅黑" panose="020B0503020204020204" charset="-122"/>
                <a:cs typeface="微软雅黑" panose="020B0503020204020204" charset="-122"/>
              </a:rPr>
              <a:t>分支机构覆盖</a:t>
            </a:r>
            <a:endParaRPr lang="zh-CN" altLang="en-US" sz="1800" b="1" kern="0" spc="90" dirty="0">
              <a:solidFill>
                <a:srgbClr val="0070C0">
                  <a:alpha val="100000"/>
                </a:srgbClr>
              </a:solidFill>
              <a:latin typeface="微软雅黑" panose="020B0503020204020204" charset="-122"/>
              <a:ea typeface="微软雅黑" panose="020B0503020204020204" charset="-122"/>
              <a:cs typeface="微软雅黑" panose="020B0503020204020204" charset="-122"/>
            </a:endParaRPr>
          </a:p>
          <a:p>
            <a:pPr marL="12700" algn="ctr" rtl="0" eaLnBrk="0">
              <a:lnSpc>
                <a:spcPct val="94000"/>
              </a:lnSpc>
            </a:pPr>
            <a:r>
              <a:rPr lang="zh-CN" altLang="en-US" sz="1800" b="1" kern="0" spc="90" dirty="0">
                <a:solidFill>
                  <a:srgbClr val="0070C0">
                    <a:alpha val="100000"/>
                  </a:srgbClr>
                </a:solidFill>
                <a:latin typeface="微软雅黑" panose="020B0503020204020204" charset="-122"/>
                <a:ea typeface="微软雅黑" panose="020B0503020204020204" charset="-122"/>
                <a:cs typeface="微软雅黑" panose="020B0503020204020204" charset="-122"/>
              </a:rPr>
              <a:t>全国大部分省市</a:t>
            </a:r>
            <a:endParaRPr lang="zh-CN" altLang="en-US" sz="1800" b="1" kern="0" spc="90" dirty="0">
              <a:solidFill>
                <a:srgbClr val="0070C0">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微信截图_20240604155649"/>
          <p:cNvPicPr>
            <a:picLocks noChangeAspect="1"/>
          </p:cNvPicPr>
          <p:nvPr>
            <p:custDataLst>
              <p:tags r:id="rId1"/>
            </p:custDataLst>
          </p:nvPr>
        </p:nvPicPr>
        <p:blipFill>
          <a:blip r:embed="rId2"/>
          <a:stretch>
            <a:fillRect/>
          </a:stretch>
        </p:blipFill>
        <p:spPr>
          <a:xfrm>
            <a:off x="7376795" y="4498340"/>
            <a:ext cx="1764030" cy="645160"/>
          </a:xfrm>
          <a:prstGeom prst="rect">
            <a:avLst/>
          </a:prstGeom>
        </p:spPr>
      </p:pic>
      <p:sp>
        <p:nvSpPr>
          <p:cNvPr id="2" name="标题 1"/>
          <p:cNvSpPr>
            <a:spLocks noGrp="1"/>
          </p:cNvSpPr>
          <p:nvPr>
            <p:ph type="title"/>
          </p:nvPr>
        </p:nvSpPr>
        <p:spPr/>
        <p:txBody>
          <a:bodyPr/>
          <a:lstStyle/>
          <a:p>
            <a:r>
              <a:rPr lang="zh-CN" altLang="en-US" sz="1800" dirty="0">
                <a:solidFill>
                  <a:srgbClr val="C00000"/>
                </a:solidFill>
                <a:latin typeface="微软雅黑" panose="020B0503020204020204" charset="-122"/>
                <a:ea typeface="微软雅黑" panose="020B0503020204020204" charset="-122"/>
              </a:rPr>
              <a:t>公司简介</a:t>
            </a:r>
            <a:endParaRPr lang="zh-CN" altLang="en-US" sz="1800" dirty="0">
              <a:solidFill>
                <a:srgbClr val="C00000"/>
              </a:solidFill>
              <a:latin typeface="微软雅黑" panose="020B0503020204020204" charset="-122"/>
              <a:ea typeface="微软雅黑" panose="020B0503020204020204" charset="-122"/>
            </a:endParaRPr>
          </a:p>
        </p:txBody>
      </p:sp>
      <p:grpSp>
        <p:nvGrpSpPr>
          <p:cNvPr id="14" name="Group 13"/>
          <p:cNvGrpSpPr/>
          <p:nvPr/>
        </p:nvGrpSpPr>
        <p:grpSpPr>
          <a:xfrm>
            <a:off x="1112193" y="843781"/>
            <a:ext cx="6832550" cy="570607"/>
            <a:chOff x="471488" y="847725"/>
            <a:chExt cx="8097837" cy="676275"/>
          </a:xfrm>
        </p:grpSpPr>
        <p:sp>
          <p:nvSpPr>
            <p:cNvPr id="19458" name="矩形 15"/>
            <p:cNvSpPr/>
            <p:nvPr>
              <p:custDataLst>
                <p:tags r:id="rId3"/>
              </p:custDataLst>
            </p:nvPr>
          </p:nvSpPr>
          <p:spPr>
            <a:xfrm>
              <a:off x="2169716" y="847725"/>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59" name="矩形 16"/>
            <p:cNvSpPr/>
            <p:nvPr>
              <p:custDataLst>
                <p:tags r:id="rId4"/>
              </p:custDataLst>
            </p:nvPr>
          </p:nvSpPr>
          <p:spPr>
            <a:xfrm>
              <a:off x="3867944" y="847725"/>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60" name="矩形 17"/>
            <p:cNvSpPr/>
            <p:nvPr>
              <p:custDataLst>
                <p:tags r:id="rId5"/>
              </p:custDataLst>
            </p:nvPr>
          </p:nvSpPr>
          <p:spPr>
            <a:xfrm>
              <a:off x="471488" y="847725"/>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61" name="矩形 18"/>
            <p:cNvSpPr/>
            <p:nvPr>
              <p:custDataLst>
                <p:tags r:id="rId6"/>
              </p:custDataLst>
            </p:nvPr>
          </p:nvSpPr>
          <p:spPr>
            <a:xfrm>
              <a:off x="5566172" y="847725"/>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62" name="矩形 19"/>
            <p:cNvSpPr/>
            <p:nvPr>
              <p:custDataLst>
                <p:tags r:id="rId7"/>
              </p:custDataLst>
            </p:nvPr>
          </p:nvSpPr>
          <p:spPr>
            <a:xfrm>
              <a:off x="7264400" y="847725"/>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pic>
          <p:nvPicPr>
            <p:cNvPr id="19464" name="图片 3"/>
            <p:cNvPicPr>
              <a:picLocks noChangeAspect="1"/>
            </p:cNvPicPr>
            <p:nvPr>
              <p:custDataLst>
                <p:tags r:id="rId8"/>
              </p:custDataLst>
            </p:nvPr>
          </p:nvPicPr>
          <p:blipFill>
            <a:blip r:embed="rId9"/>
            <a:stretch>
              <a:fillRect/>
            </a:stretch>
          </p:blipFill>
          <p:spPr>
            <a:xfrm>
              <a:off x="2282507" y="885825"/>
              <a:ext cx="1136650" cy="619125"/>
            </a:xfrm>
            <a:prstGeom prst="rect">
              <a:avLst/>
            </a:prstGeom>
            <a:noFill/>
            <a:ln w="9525">
              <a:noFill/>
            </a:ln>
          </p:spPr>
        </p:pic>
        <p:pic>
          <p:nvPicPr>
            <p:cNvPr id="19465" name="图片 4"/>
            <p:cNvPicPr>
              <a:picLocks noChangeAspect="1"/>
            </p:cNvPicPr>
            <p:nvPr>
              <p:custDataLst>
                <p:tags r:id="rId10"/>
              </p:custDataLst>
            </p:nvPr>
          </p:nvPicPr>
          <p:blipFill>
            <a:blip r:embed="rId11"/>
            <a:stretch>
              <a:fillRect/>
            </a:stretch>
          </p:blipFill>
          <p:spPr>
            <a:xfrm>
              <a:off x="5627687" y="882650"/>
              <a:ext cx="1174750" cy="641350"/>
            </a:xfrm>
            <a:prstGeom prst="rect">
              <a:avLst/>
            </a:prstGeom>
            <a:noFill/>
            <a:ln w="9525">
              <a:noFill/>
            </a:ln>
          </p:spPr>
        </p:pic>
        <p:pic>
          <p:nvPicPr>
            <p:cNvPr id="19466" name="图片 5"/>
            <p:cNvPicPr>
              <a:picLocks noChangeAspect="1"/>
            </p:cNvPicPr>
            <p:nvPr>
              <p:custDataLst>
                <p:tags r:id="rId12"/>
              </p:custDataLst>
            </p:nvPr>
          </p:nvPicPr>
          <p:blipFill>
            <a:blip r:embed="rId13"/>
            <a:stretch>
              <a:fillRect/>
            </a:stretch>
          </p:blipFill>
          <p:spPr>
            <a:xfrm>
              <a:off x="3956844" y="882650"/>
              <a:ext cx="1176337" cy="641350"/>
            </a:xfrm>
            <a:prstGeom prst="rect">
              <a:avLst/>
            </a:prstGeom>
            <a:noFill/>
            <a:ln w="9525">
              <a:noFill/>
            </a:ln>
          </p:spPr>
        </p:pic>
        <p:pic>
          <p:nvPicPr>
            <p:cNvPr id="19467" name="图片 10"/>
            <p:cNvPicPr>
              <a:picLocks noChangeAspect="1"/>
            </p:cNvPicPr>
            <p:nvPr>
              <p:custDataLst>
                <p:tags r:id="rId14"/>
              </p:custDataLst>
            </p:nvPr>
          </p:nvPicPr>
          <p:blipFill>
            <a:blip r:embed="rId15"/>
            <a:stretch>
              <a:fillRect/>
            </a:stretch>
          </p:blipFill>
          <p:spPr>
            <a:xfrm>
              <a:off x="581025" y="863600"/>
              <a:ext cx="1174750" cy="641350"/>
            </a:xfrm>
            <a:prstGeom prst="rect">
              <a:avLst/>
            </a:prstGeom>
            <a:noFill/>
            <a:ln w="9525">
              <a:noFill/>
            </a:ln>
          </p:spPr>
        </p:pic>
        <p:pic>
          <p:nvPicPr>
            <p:cNvPr id="19468" name="图片 14"/>
            <p:cNvPicPr>
              <a:picLocks noChangeAspect="1"/>
            </p:cNvPicPr>
            <p:nvPr>
              <p:custDataLst>
                <p:tags r:id="rId16"/>
              </p:custDataLst>
            </p:nvPr>
          </p:nvPicPr>
          <p:blipFill>
            <a:blip r:embed="rId17"/>
            <a:stretch>
              <a:fillRect/>
            </a:stretch>
          </p:blipFill>
          <p:spPr>
            <a:xfrm>
              <a:off x="7329487" y="860425"/>
              <a:ext cx="1174750" cy="642938"/>
            </a:xfrm>
            <a:prstGeom prst="rect">
              <a:avLst/>
            </a:prstGeom>
            <a:noFill/>
            <a:ln w="9525">
              <a:noFill/>
            </a:ln>
          </p:spPr>
        </p:pic>
      </p:grpSp>
      <p:grpSp>
        <p:nvGrpSpPr>
          <p:cNvPr id="15" name="Group 14"/>
          <p:cNvGrpSpPr/>
          <p:nvPr/>
        </p:nvGrpSpPr>
        <p:grpSpPr>
          <a:xfrm>
            <a:off x="1112193" y="1361707"/>
            <a:ext cx="6832550" cy="570607"/>
            <a:chOff x="471488" y="1846263"/>
            <a:chExt cx="8097837" cy="676275"/>
          </a:xfrm>
        </p:grpSpPr>
        <p:sp>
          <p:nvSpPr>
            <p:cNvPr id="19469" name="矩形 31"/>
            <p:cNvSpPr/>
            <p:nvPr>
              <p:custDataLst>
                <p:tags r:id="rId18"/>
              </p:custDataLst>
            </p:nvPr>
          </p:nvSpPr>
          <p:spPr>
            <a:xfrm>
              <a:off x="2169716" y="1846263"/>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70" name="矩形 32"/>
            <p:cNvSpPr/>
            <p:nvPr>
              <p:custDataLst>
                <p:tags r:id="rId19"/>
              </p:custDataLst>
            </p:nvPr>
          </p:nvSpPr>
          <p:spPr>
            <a:xfrm>
              <a:off x="3867944" y="1846263"/>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71" name="矩形 33"/>
            <p:cNvSpPr/>
            <p:nvPr>
              <p:custDataLst>
                <p:tags r:id="rId20"/>
              </p:custDataLst>
            </p:nvPr>
          </p:nvSpPr>
          <p:spPr>
            <a:xfrm>
              <a:off x="471488" y="1846263"/>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72" name="矩形 34"/>
            <p:cNvSpPr/>
            <p:nvPr>
              <p:custDataLst>
                <p:tags r:id="rId21"/>
              </p:custDataLst>
            </p:nvPr>
          </p:nvSpPr>
          <p:spPr>
            <a:xfrm>
              <a:off x="5566172" y="1846263"/>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73" name="矩形 35"/>
            <p:cNvSpPr/>
            <p:nvPr>
              <p:custDataLst>
                <p:tags r:id="rId22"/>
              </p:custDataLst>
            </p:nvPr>
          </p:nvSpPr>
          <p:spPr>
            <a:xfrm>
              <a:off x="7264400" y="1846263"/>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pic>
          <p:nvPicPr>
            <p:cNvPr id="19484" name="图片 84"/>
            <p:cNvPicPr>
              <a:picLocks noChangeAspect="1"/>
            </p:cNvPicPr>
            <p:nvPr>
              <p:custDataLst>
                <p:tags r:id="rId23"/>
              </p:custDataLst>
            </p:nvPr>
          </p:nvPicPr>
          <p:blipFill>
            <a:blip r:embed="rId24"/>
            <a:stretch>
              <a:fillRect/>
            </a:stretch>
          </p:blipFill>
          <p:spPr>
            <a:xfrm>
              <a:off x="2236469" y="1885950"/>
              <a:ext cx="1220787" cy="609600"/>
            </a:xfrm>
            <a:prstGeom prst="rect">
              <a:avLst/>
            </a:prstGeom>
            <a:noFill/>
            <a:ln w="9525">
              <a:noFill/>
            </a:ln>
          </p:spPr>
        </p:pic>
        <p:pic>
          <p:nvPicPr>
            <p:cNvPr id="19485" name="图片 85"/>
            <p:cNvPicPr>
              <a:picLocks noChangeAspect="1"/>
            </p:cNvPicPr>
            <p:nvPr>
              <p:custDataLst>
                <p:tags r:id="rId25"/>
              </p:custDataLst>
            </p:nvPr>
          </p:nvPicPr>
          <p:blipFill>
            <a:blip r:embed="rId26"/>
            <a:stretch>
              <a:fillRect/>
            </a:stretch>
          </p:blipFill>
          <p:spPr>
            <a:xfrm>
              <a:off x="3933824" y="1936750"/>
              <a:ext cx="1173163" cy="533400"/>
            </a:xfrm>
            <a:prstGeom prst="rect">
              <a:avLst/>
            </a:prstGeom>
            <a:noFill/>
            <a:ln w="9525">
              <a:noFill/>
            </a:ln>
          </p:spPr>
        </p:pic>
        <p:pic>
          <p:nvPicPr>
            <p:cNvPr id="19486" name="图片 86"/>
            <p:cNvPicPr>
              <a:picLocks noChangeAspect="1"/>
            </p:cNvPicPr>
            <p:nvPr>
              <p:custDataLst>
                <p:tags r:id="rId27"/>
              </p:custDataLst>
            </p:nvPr>
          </p:nvPicPr>
          <p:blipFill>
            <a:blip r:embed="rId28"/>
            <a:stretch>
              <a:fillRect/>
            </a:stretch>
          </p:blipFill>
          <p:spPr>
            <a:xfrm>
              <a:off x="5672138" y="1916113"/>
              <a:ext cx="1192212" cy="547687"/>
            </a:xfrm>
            <a:prstGeom prst="rect">
              <a:avLst/>
            </a:prstGeom>
            <a:noFill/>
            <a:ln w="9525">
              <a:noFill/>
            </a:ln>
          </p:spPr>
        </p:pic>
        <p:pic>
          <p:nvPicPr>
            <p:cNvPr id="19487" name="图片 87"/>
            <p:cNvPicPr>
              <a:picLocks noChangeAspect="1"/>
            </p:cNvPicPr>
            <p:nvPr>
              <p:custDataLst>
                <p:tags r:id="rId29"/>
              </p:custDataLst>
            </p:nvPr>
          </p:nvPicPr>
          <p:blipFill>
            <a:blip r:embed="rId30"/>
            <a:stretch>
              <a:fillRect/>
            </a:stretch>
          </p:blipFill>
          <p:spPr>
            <a:xfrm>
              <a:off x="539749" y="1966992"/>
              <a:ext cx="1189037" cy="434816"/>
            </a:xfrm>
            <a:prstGeom prst="rect">
              <a:avLst/>
            </a:prstGeom>
            <a:noFill/>
            <a:ln w="9525">
              <a:noFill/>
            </a:ln>
          </p:spPr>
        </p:pic>
        <p:pic>
          <p:nvPicPr>
            <p:cNvPr id="19491" name="图片 91"/>
            <p:cNvPicPr>
              <a:picLocks noChangeAspect="1"/>
            </p:cNvPicPr>
            <p:nvPr>
              <p:custDataLst>
                <p:tags r:id="rId31"/>
              </p:custDataLst>
            </p:nvPr>
          </p:nvPicPr>
          <p:blipFill>
            <a:blip r:embed="rId32"/>
            <a:stretch>
              <a:fillRect/>
            </a:stretch>
          </p:blipFill>
          <p:spPr>
            <a:xfrm>
              <a:off x="7313613" y="1941513"/>
              <a:ext cx="1255712" cy="490537"/>
            </a:xfrm>
            <a:prstGeom prst="rect">
              <a:avLst/>
            </a:prstGeom>
            <a:noFill/>
            <a:ln w="9525">
              <a:noFill/>
            </a:ln>
          </p:spPr>
        </p:pic>
      </p:grpSp>
      <p:grpSp>
        <p:nvGrpSpPr>
          <p:cNvPr id="20" name="Group 19"/>
          <p:cNvGrpSpPr/>
          <p:nvPr/>
        </p:nvGrpSpPr>
        <p:grpSpPr>
          <a:xfrm>
            <a:off x="1112193" y="1889611"/>
            <a:ext cx="6832550" cy="570607"/>
            <a:chOff x="471488" y="2844801"/>
            <a:chExt cx="8097837" cy="676275"/>
          </a:xfrm>
        </p:grpSpPr>
        <p:grpSp>
          <p:nvGrpSpPr>
            <p:cNvPr id="16" name="Group 15"/>
            <p:cNvGrpSpPr/>
            <p:nvPr/>
          </p:nvGrpSpPr>
          <p:grpSpPr>
            <a:xfrm>
              <a:off x="471488" y="2844801"/>
              <a:ext cx="8097837" cy="676275"/>
              <a:chOff x="471488" y="2844801"/>
              <a:chExt cx="8097837" cy="676275"/>
            </a:xfrm>
          </p:grpSpPr>
          <p:sp>
            <p:nvSpPr>
              <p:cNvPr id="19474" name="矩形 41"/>
              <p:cNvSpPr/>
              <p:nvPr>
                <p:custDataLst>
                  <p:tags r:id="rId33"/>
                </p:custDataLst>
              </p:nvPr>
            </p:nvSpPr>
            <p:spPr>
              <a:xfrm>
                <a:off x="2169716" y="2844801"/>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75" name="矩形 42"/>
              <p:cNvSpPr/>
              <p:nvPr>
                <p:custDataLst>
                  <p:tags r:id="rId34"/>
                </p:custDataLst>
              </p:nvPr>
            </p:nvSpPr>
            <p:spPr>
              <a:xfrm>
                <a:off x="3867944" y="2844801"/>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76" name="矩形 45"/>
              <p:cNvSpPr/>
              <p:nvPr>
                <p:custDataLst>
                  <p:tags r:id="rId35"/>
                </p:custDataLst>
              </p:nvPr>
            </p:nvSpPr>
            <p:spPr>
              <a:xfrm>
                <a:off x="471488" y="2844801"/>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77" name="矩形 46"/>
              <p:cNvSpPr/>
              <p:nvPr>
                <p:custDataLst>
                  <p:tags r:id="rId36"/>
                </p:custDataLst>
              </p:nvPr>
            </p:nvSpPr>
            <p:spPr>
              <a:xfrm>
                <a:off x="5566172" y="2844801"/>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78" name="矩形 47"/>
              <p:cNvSpPr/>
              <p:nvPr>
                <p:custDataLst>
                  <p:tags r:id="rId37"/>
                </p:custDataLst>
              </p:nvPr>
            </p:nvSpPr>
            <p:spPr>
              <a:xfrm>
                <a:off x="7264400" y="2844801"/>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grpSp>
        <p:grpSp>
          <p:nvGrpSpPr>
            <p:cNvPr id="18" name="Group 17"/>
            <p:cNvGrpSpPr/>
            <p:nvPr/>
          </p:nvGrpSpPr>
          <p:grpSpPr>
            <a:xfrm>
              <a:off x="566737" y="2844801"/>
              <a:ext cx="7906385" cy="663574"/>
              <a:chOff x="566737" y="2844801"/>
              <a:chExt cx="7906385" cy="663574"/>
            </a:xfrm>
          </p:grpSpPr>
          <p:pic>
            <p:nvPicPr>
              <p:cNvPr id="19489" name="图片 89"/>
              <p:cNvPicPr>
                <a:picLocks noChangeAspect="1"/>
              </p:cNvPicPr>
              <p:nvPr>
                <p:custDataLst>
                  <p:tags r:id="rId38"/>
                </p:custDataLst>
              </p:nvPr>
            </p:nvPicPr>
            <p:blipFill rotWithShape="1">
              <a:blip r:embed="rId39">
                <a:clrChange>
                  <a:clrFrom>
                    <a:srgbClr val="FFFFFF"/>
                  </a:clrFrom>
                  <a:clrTo>
                    <a:srgbClr val="FFFFFF">
                      <a:alpha val="0"/>
                    </a:srgbClr>
                  </a:clrTo>
                </a:clrChange>
              </a:blip>
              <a:srcRect b="30793"/>
              <a:stretch>
                <a:fillRect/>
              </a:stretch>
            </p:blipFill>
            <p:spPr>
              <a:xfrm>
                <a:off x="2282507" y="2844801"/>
                <a:ext cx="1050925" cy="533399"/>
              </a:xfrm>
              <a:prstGeom prst="rect">
                <a:avLst/>
              </a:prstGeom>
              <a:noFill/>
              <a:ln w="9525">
                <a:noFill/>
              </a:ln>
            </p:spPr>
          </p:pic>
          <p:pic>
            <p:nvPicPr>
              <p:cNvPr id="19492" name="图片 92"/>
              <p:cNvPicPr>
                <a:picLocks noChangeAspect="1"/>
              </p:cNvPicPr>
              <p:nvPr>
                <p:custDataLst>
                  <p:tags r:id="rId40"/>
                </p:custDataLst>
              </p:nvPr>
            </p:nvPicPr>
            <p:blipFill>
              <a:blip r:embed="rId41"/>
              <a:stretch>
                <a:fillRect/>
              </a:stretch>
            </p:blipFill>
            <p:spPr>
              <a:xfrm>
                <a:off x="566737" y="2882899"/>
                <a:ext cx="1135063" cy="619125"/>
              </a:xfrm>
              <a:prstGeom prst="rect">
                <a:avLst/>
              </a:prstGeom>
              <a:noFill/>
              <a:ln w="9525">
                <a:noFill/>
              </a:ln>
            </p:spPr>
          </p:pic>
          <p:pic>
            <p:nvPicPr>
              <p:cNvPr id="19493" name="图片 93"/>
              <p:cNvPicPr>
                <a:picLocks noChangeAspect="1"/>
              </p:cNvPicPr>
              <p:nvPr>
                <p:custDataLst>
                  <p:tags r:id="rId42"/>
                </p:custDataLst>
              </p:nvPr>
            </p:nvPicPr>
            <p:blipFill>
              <a:blip r:embed="rId43"/>
              <a:stretch>
                <a:fillRect/>
              </a:stretch>
            </p:blipFill>
            <p:spPr>
              <a:xfrm>
                <a:off x="4016375" y="2916238"/>
                <a:ext cx="1117600" cy="592137"/>
              </a:xfrm>
              <a:prstGeom prst="rect">
                <a:avLst/>
              </a:prstGeom>
              <a:noFill/>
              <a:ln w="9525">
                <a:noFill/>
              </a:ln>
            </p:spPr>
          </p:pic>
          <p:pic>
            <p:nvPicPr>
              <p:cNvPr id="19494" name="Picture 24" descr="http://www.19319.cn/UploadFiles/%E5%85%B6%E5%AE%83%E6%A0%87%E5%BF%97/%E4%BF%9D%E9%99%A9%E5%85%AC%E5%8F%B8%E6%A0%87%E5%BF%97%E5%A4%A7%E5%85%A8/%E8%B4%A2%E4%BA%A7%E4%BF%9D%E9%99%A9/%E5%8D%8E%E6%B3%B0%E4%BF%9D%E9%99%A9/logo.jpg"/>
              <p:cNvPicPr>
                <a:picLocks noChangeAspect="1"/>
              </p:cNvPicPr>
              <p:nvPr>
                <p:custDataLst>
                  <p:tags r:id="rId44"/>
                </p:custDataLst>
              </p:nvPr>
            </p:nvPicPr>
            <p:blipFill>
              <a:blip r:embed="rId45"/>
              <a:stretch>
                <a:fillRect/>
              </a:stretch>
            </p:blipFill>
            <p:spPr>
              <a:xfrm>
                <a:off x="5610225" y="3006725"/>
                <a:ext cx="1209675" cy="371475"/>
              </a:xfrm>
              <a:prstGeom prst="rect">
                <a:avLst/>
              </a:prstGeom>
              <a:noFill/>
              <a:ln w="9525">
                <a:noFill/>
              </a:ln>
            </p:spPr>
          </p:pic>
          <p:pic>
            <p:nvPicPr>
              <p:cNvPr id="19495" name="Picture 6"/>
              <p:cNvPicPr>
                <a:picLocks noChangeAspect="1"/>
              </p:cNvPicPr>
              <p:nvPr>
                <p:custDataLst>
                  <p:tags r:id="rId46"/>
                </p:custDataLst>
              </p:nvPr>
            </p:nvPicPr>
            <p:blipFill>
              <a:blip r:embed="rId47"/>
              <a:stretch>
                <a:fillRect/>
              </a:stretch>
            </p:blipFill>
            <p:spPr>
              <a:xfrm>
                <a:off x="7449502" y="2900363"/>
                <a:ext cx="1023620" cy="565149"/>
              </a:xfrm>
              <a:prstGeom prst="rect">
                <a:avLst/>
              </a:prstGeom>
              <a:noFill/>
              <a:ln w="9525">
                <a:noFill/>
              </a:ln>
            </p:spPr>
          </p:pic>
        </p:grpSp>
      </p:grpSp>
      <p:grpSp>
        <p:nvGrpSpPr>
          <p:cNvPr id="21" name="Group 20"/>
          <p:cNvGrpSpPr/>
          <p:nvPr/>
        </p:nvGrpSpPr>
        <p:grpSpPr>
          <a:xfrm>
            <a:off x="1112193" y="2427494"/>
            <a:ext cx="6832550" cy="609451"/>
            <a:chOff x="471488" y="3843338"/>
            <a:chExt cx="8097837" cy="722312"/>
          </a:xfrm>
        </p:grpSpPr>
        <p:grpSp>
          <p:nvGrpSpPr>
            <p:cNvPr id="17" name="Group 16"/>
            <p:cNvGrpSpPr/>
            <p:nvPr/>
          </p:nvGrpSpPr>
          <p:grpSpPr>
            <a:xfrm>
              <a:off x="471488" y="3843338"/>
              <a:ext cx="8097837" cy="676275"/>
              <a:chOff x="471488" y="3843338"/>
              <a:chExt cx="8097837" cy="676275"/>
            </a:xfrm>
          </p:grpSpPr>
          <p:sp>
            <p:nvSpPr>
              <p:cNvPr id="19479" name="矩形 74"/>
              <p:cNvSpPr/>
              <p:nvPr>
                <p:custDataLst>
                  <p:tags r:id="rId48"/>
                </p:custDataLst>
              </p:nvPr>
            </p:nvSpPr>
            <p:spPr>
              <a:xfrm>
                <a:off x="2169716" y="3843338"/>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80" name="矩形 75"/>
              <p:cNvSpPr/>
              <p:nvPr>
                <p:custDataLst>
                  <p:tags r:id="rId49"/>
                </p:custDataLst>
              </p:nvPr>
            </p:nvSpPr>
            <p:spPr>
              <a:xfrm>
                <a:off x="3867944" y="3843338"/>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81" name="矩形 76"/>
              <p:cNvSpPr/>
              <p:nvPr>
                <p:custDataLst>
                  <p:tags r:id="rId50"/>
                </p:custDataLst>
              </p:nvPr>
            </p:nvSpPr>
            <p:spPr>
              <a:xfrm>
                <a:off x="471488" y="3843338"/>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82" name="矩形 77"/>
              <p:cNvSpPr/>
              <p:nvPr>
                <p:custDataLst>
                  <p:tags r:id="rId51"/>
                </p:custDataLst>
              </p:nvPr>
            </p:nvSpPr>
            <p:spPr>
              <a:xfrm>
                <a:off x="5566172" y="3843338"/>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9483" name="矩形 78"/>
              <p:cNvSpPr/>
              <p:nvPr>
                <p:custDataLst>
                  <p:tags r:id="rId52"/>
                </p:custDataLst>
              </p:nvPr>
            </p:nvSpPr>
            <p:spPr>
              <a:xfrm>
                <a:off x="7264400" y="3843338"/>
                <a:ext cx="1304925" cy="676275"/>
              </a:xfrm>
              <a:prstGeom prst="rect">
                <a:avLst/>
              </a:prstGeom>
              <a:solidFill>
                <a:srgbClr val="FFFFFF"/>
              </a:solidFill>
              <a:ln w="6350" cap="flat" cmpd="sng">
                <a:solidFill>
                  <a:schemeClr val="accent5"/>
                </a:solidFill>
                <a:prstDash val="solid"/>
                <a:miter/>
                <a:headEnd type="none" w="med" len="med"/>
                <a:tailEnd type="none" w="med" len="med"/>
              </a:ln>
            </p:spPr>
            <p:txBody>
              <a:bodyPr anchor="ctr" anchorCtr="0">
                <a:noAutofit/>
              </a:bodyPr>
              <a:p>
                <a:pPr algn="ctr"/>
                <a:endParaRPr sz="1690">
                  <a:solidFill>
                    <a:srgbClr val="FFFFFF"/>
                  </a:solidFill>
                  <a:latin typeface="微软雅黑" panose="020B0503020204020204" charset="-122"/>
                  <a:ea typeface="微软雅黑" panose="020B0503020204020204" charset="-122"/>
                  <a:sym typeface="微软雅黑" panose="020B0503020204020204" charset="-122"/>
                </a:endParaRPr>
              </a:p>
            </p:txBody>
          </p:sp>
          <p:pic>
            <p:nvPicPr>
              <p:cNvPr id="19496" name="图片 94"/>
              <p:cNvPicPr>
                <a:picLocks noChangeAspect="1"/>
              </p:cNvPicPr>
              <p:nvPr>
                <p:custDataLst>
                  <p:tags r:id="rId53"/>
                </p:custDataLst>
              </p:nvPr>
            </p:nvPicPr>
            <p:blipFill>
              <a:blip r:embed="rId54"/>
              <a:stretch>
                <a:fillRect/>
              </a:stretch>
            </p:blipFill>
            <p:spPr>
              <a:xfrm>
                <a:off x="608013" y="3857625"/>
                <a:ext cx="1052512" cy="639763"/>
              </a:xfrm>
              <a:prstGeom prst="rect">
                <a:avLst/>
              </a:prstGeom>
              <a:noFill/>
              <a:ln w="9525">
                <a:noFill/>
              </a:ln>
            </p:spPr>
          </p:pic>
          <p:pic>
            <p:nvPicPr>
              <p:cNvPr id="19497" name="图片 95"/>
              <p:cNvPicPr>
                <a:picLocks noChangeAspect="1"/>
              </p:cNvPicPr>
              <p:nvPr>
                <p:custDataLst>
                  <p:tags r:id="rId55"/>
                </p:custDataLst>
              </p:nvPr>
            </p:nvPicPr>
            <p:blipFill>
              <a:blip r:embed="rId56"/>
              <a:srcRect l="3714" t="22269" r="6099" b="22397"/>
              <a:stretch>
                <a:fillRect/>
              </a:stretch>
            </p:blipFill>
            <p:spPr>
              <a:xfrm>
                <a:off x="2282507" y="3876675"/>
                <a:ext cx="1128713" cy="520700"/>
              </a:xfrm>
              <a:prstGeom prst="rect">
                <a:avLst/>
              </a:prstGeom>
              <a:noFill/>
              <a:ln w="9525">
                <a:noFill/>
              </a:ln>
            </p:spPr>
          </p:pic>
        </p:grpSp>
        <p:grpSp>
          <p:nvGrpSpPr>
            <p:cNvPr id="19" name="Group 18"/>
            <p:cNvGrpSpPr/>
            <p:nvPr/>
          </p:nvGrpSpPr>
          <p:grpSpPr>
            <a:xfrm>
              <a:off x="3971924" y="3888581"/>
              <a:ext cx="4575176" cy="677069"/>
              <a:chOff x="3971924" y="3888581"/>
              <a:chExt cx="4575176" cy="677069"/>
            </a:xfrm>
          </p:grpSpPr>
          <p:pic>
            <p:nvPicPr>
              <p:cNvPr id="19498" name="图片 96"/>
              <p:cNvPicPr>
                <a:picLocks noChangeAspect="1"/>
              </p:cNvPicPr>
              <p:nvPr>
                <p:custDataLst>
                  <p:tags r:id="rId57"/>
                </p:custDataLst>
              </p:nvPr>
            </p:nvPicPr>
            <p:blipFill>
              <a:blip r:embed="rId58">
                <a:clrChange>
                  <a:clrFrom>
                    <a:srgbClr val="FFFFFF"/>
                  </a:clrFrom>
                  <a:clrTo>
                    <a:srgbClr val="FFFFFF">
                      <a:alpha val="0"/>
                    </a:srgbClr>
                  </a:clrTo>
                </a:clrChange>
              </a:blip>
              <a:srcRect t="20282"/>
              <a:stretch>
                <a:fillRect/>
              </a:stretch>
            </p:blipFill>
            <p:spPr>
              <a:xfrm>
                <a:off x="3971924" y="3956050"/>
                <a:ext cx="1135063" cy="609600"/>
              </a:xfrm>
              <a:prstGeom prst="rect">
                <a:avLst/>
              </a:prstGeom>
              <a:noFill/>
              <a:ln w="9525">
                <a:noFill/>
              </a:ln>
            </p:spPr>
          </p:pic>
          <p:pic>
            <p:nvPicPr>
              <p:cNvPr id="19499" name="图片 97"/>
              <p:cNvPicPr>
                <a:picLocks noChangeAspect="1"/>
              </p:cNvPicPr>
              <p:nvPr>
                <p:custDataLst>
                  <p:tags r:id="rId59"/>
                </p:custDataLst>
              </p:nvPr>
            </p:nvPicPr>
            <p:blipFill>
              <a:blip r:embed="rId60"/>
              <a:stretch>
                <a:fillRect/>
              </a:stretch>
            </p:blipFill>
            <p:spPr>
              <a:xfrm>
                <a:off x="5849938" y="3888581"/>
                <a:ext cx="814387" cy="577850"/>
              </a:xfrm>
              <a:prstGeom prst="rect">
                <a:avLst/>
              </a:prstGeom>
              <a:noFill/>
              <a:ln w="9525">
                <a:noFill/>
              </a:ln>
            </p:spPr>
          </p:pic>
          <p:pic>
            <p:nvPicPr>
              <p:cNvPr id="19500" name="图片 99"/>
              <p:cNvPicPr>
                <a:picLocks noChangeAspect="1"/>
              </p:cNvPicPr>
              <p:nvPr>
                <p:custDataLst>
                  <p:tags r:id="rId61"/>
                </p:custDataLst>
              </p:nvPr>
            </p:nvPicPr>
            <p:blipFill>
              <a:blip r:embed="rId62"/>
              <a:stretch>
                <a:fillRect/>
              </a:stretch>
            </p:blipFill>
            <p:spPr>
              <a:xfrm>
                <a:off x="7375525" y="3910806"/>
                <a:ext cx="1171575" cy="533400"/>
              </a:xfrm>
              <a:prstGeom prst="rect">
                <a:avLst/>
              </a:prstGeom>
              <a:noFill/>
              <a:ln w="9525">
                <a:noFill/>
              </a:ln>
            </p:spPr>
          </p:pic>
        </p:grpSp>
      </p:grpSp>
      <p:sp>
        <p:nvSpPr>
          <p:cNvPr id="22" name="textbox 104"/>
          <p:cNvSpPr/>
          <p:nvPr>
            <p:custDataLst>
              <p:tags r:id="rId63"/>
            </p:custDataLst>
          </p:nvPr>
        </p:nvSpPr>
        <p:spPr>
          <a:xfrm>
            <a:off x="1077526" y="566871"/>
            <a:ext cx="1830070" cy="230505"/>
          </a:xfrm>
          <a:prstGeom prst="rect">
            <a:avLst/>
          </a:prstGeom>
        </p:spPr>
        <p:txBody>
          <a:bodyPr vert="horz" wrap="none" lIns="0" tIns="0" rIns="0" bIns="0">
            <a:spAutoFit/>
          </a:bodyPr>
          <a:p>
            <a:pPr marL="12700" algn="l" rtl="0" eaLnBrk="0">
              <a:lnSpc>
                <a:spcPct val="94000"/>
              </a:lnSpc>
            </a:pPr>
            <a:r>
              <a:rPr lang="zh-CN" altLang="en-US" sz="1600" b="1" kern="0" spc="90">
                <a:solidFill>
                  <a:srgbClr val="0070C0">
                    <a:alpha val="100000"/>
                  </a:srgbClr>
                </a:solidFill>
                <a:latin typeface="微软雅黑" panose="020B0503020204020204" charset="-122"/>
                <a:ea typeface="微软雅黑" panose="020B0503020204020204" charset="-122"/>
                <a:cs typeface="微软雅黑" panose="020B0503020204020204" charset="-122"/>
              </a:rPr>
              <a:t>财险板块</a:t>
            </a:r>
            <a:r>
              <a:rPr lang="en-US" altLang="zh-CN" sz="1600" b="1" kern="0" spc="90">
                <a:solidFill>
                  <a:srgbClr val="0070C0">
                    <a:alpha val="100000"/>
                  </a:srgbClr>
                </a:solidFill>
                <a:latin typeface="微软雅黑" panose="020B0503020204020204" charset="-122"/>
                <a:ea typeface="微软雅黑" panose="020B0503020204020204" charset="-122"/>
                <a:cs typeface="微软雅黑" panose="020B0503020204020204" charset="-122"/>
              </a:rPr>
              <a:t>-</a:t>
            </a:r>
            <a:r>
              <a:rPr lang="zh-CN" altLang="en-US" sz="1600" b="1" kern="0" spc="90">
                <a:solidFill>
                  <a:srgbClr val="0070C0">
                    <a:alpha val="100000"/>
                  </a:srgbClr>
                </a:solidFill>
                <a:latin typeface="微软雅黑" panose="020B0503020204020204" charset="-122"/>
                <a:ea typeface="微软雅黑" panose="020B0503020204020204" charset="-122"/>
                <a:cs typeface="微软雅黑" panose="020B0503020204020204" charset="-122"/>
              </a:rPr>
              <a:t>合作机构</a:t>
            </a:r>
            <a:endParaRPr lang="zh-CN" altLang="en-US" sz="1600" b="1" kern="0" spc="90" dirty="0">
              <a:solidFill>
                <a:srgbClr val="0070C0">
                  <a:alpha val="100000"/>
                </a:srgbClr>
              </a:solidFill>
              <a:latin typeface="微软雅黑" panose="020B0503020204020204" charset="-122"/>
              <a:ea typeface="微软雅黑" panose="020B0503020204020204" charset="-122"/>
              <a:cs typeface="微软雅黑" panose="020B0503020204020204" charset="-122"/>
            </a:endParaRPr>
          </a:p>
        </p:txBody>
      </p:sp>
      <p:pic>
        <p:nvPicPr>
          <p:cNvPr id="23559" name="picture 630"/>
          <p:cNvPicPr>
            <a:picLocks noChangeAspect="1"/>
          </p:cNvPicPr>
          <p:nvPr>
            <p:custDataLst>
              <p:tags r:id="rId64"/>
            </p:custDataLst>
          </p:nvPr>
        </p:nvPicPr>
        <p:blipFill>
          <a:blip r:embed="rId65"/>
          <a:stretch>
            <a:fillRect/>
          </a:stretch>
        </p:blipFill>
        <p:spPr>
          <a:xfrm>
            <a:off x="3689301" y="3763741"/>
            <a:ext cx="1828353" cy="365670"/>
          </a:xfrm>
          <a:prstGeom prst="rect">
            <a:avLst/>
          </a:prstGeom>
          <a:noFill/>
          <a:ln w="9525">
            <a:noFill/>
          </a:ln>
        </p:spPr>
      </p:pic>
      <p:pic>
        <p:nvPicPr>
          <p:cNvPr id="23560" name="picture 634"/>
          <p:cNvPicPr>
            <a:picLocks noChangeAspect="1"/>
          </p:cNvPicPr>
          <p:nvPr>
            <p:custDataLst>
              <p:tags r:id="rId66"/>
            </p:custDataLst>
          </p:nvPr>
        </p:nvPicPr>
        <p:blipFill>
          <a:blip r:embed="rId67"/>
          <a:stretch>
            <a:fillRect/>
          </a:stretch>
        </p:blipFill>
        <p:spPr>
          <a:xfrm>
            <a:off x="1031826" y="4562054"/>
            <a:ext cx="1522958" cy="408533"/>
          </a:xfrm>
          <a:prstGeom prst="rect">
            <a:avLst/>
          </a:prstGeom>
          <a:noFill/>
          <a:ln w="9525">
            <a:noFill/>
          </a:ln>
        </p:spPr>
      </p:pic>
      <p:pic>
        <p:nvPicPr>
          <p:cNvPr id="23561" name="picture 636"/>
          <p:cNvPicPr>
            <a:picLocks noChangeAspect="1"/>
          </p:cNvPicPr>
          <p:nvPr>
            <p:custDataLst>
              <p:tags r:id="rId68"/>
            </p:custDataLst>
          </p:nvPr>
        </p:nvPicPr>
        <p:blipFill>
          <a:blip r:embed="rId69"/>
          <a:stretch>
            <a:fillRect/>
          </a:stretch>
        </p:blipFill>
        <p:spPr>
          <a:xfrm>
            <a:off x="1165771" y="3395391"/>
            <a:ext cx="688479" cy="684461"/>
          </a:xfrm>
          <a:prstGeom prst="rect">
            <a:avLst/>
          </a:prstGeom>
          <a:noFill/>
          <a:ln w="9525">
            <a:noFill/>
          </a:ln>
        </p:spPr>
      </p:pic>
      <p:pic>
        <p:nvPicPr>
          <p:cNvPr id="23562" name="picture 640"/>
          <p:cNvPicPr>
            <a:picLocks noChangeAspect="1"/>
          </p:cNvPicPr>
          <p:nvPr>
            <p:custDataLst>
              <p:tags r:id="rId70"/>
            </p:custDataLst>
          </p:nvPr>
        </p:nvPicPr>
        <p:blipFill>
          <a:blip r:embed="rId71"/>
          <a:stretch>
            <a:fillRect/>
          </a:stretch>
        </p:blipFill>
        <p:spPr>
          <a:xfrm>
            <a:off x="2834730" y="4189686"/>
            <a:ext cx="972443" cy="342900"/>
          </a:xfrm>
          <a:prstGeom prst="rect">
            <a:avLst/>
          </a:prstGeom>
          <a:noFill/>
          <a:ln w="9525">
            <a:noFill/>
          </a:ln>
        </p:spPr>
      </p:pic>
      <p:pic>
        <p:nvPicPr>
          <p:cNvPr id="23563" name="picture 642"/>
          <p:cNvPicPr>
            <a:picLocks noChangeAspect="1"/>
          </p:cNvPicPr>
          <p:nvPr>
            <p:custDataLst>
              <p:tags r:id="rId72"/>
            </p:custDataLst>
          </p:nvPr>
        </p:nvPicPr>
        <p:blipFill>
          <a:blip r:embed="rId73"/>
          <a:stretch>
            <a:fillRect/>
          </a:stretch>
        </p:blipFill>
        <p:spPr>
          <a:xfrm>
            <a:off x="2597646" y="4595541"/>
            <a:ext cx="699194" cy="342900"/>
          </a:xfrm>
          <a:prstGeom prst="rect">
            <a:avLst/>
          </a:prstGeom>
          <a:noFill/>
          <a:ln w="9525">
            <a:noFill/>
          </a:ln>
        </p:spPr>
      </p:pic>
      <p:pic>
        <p:nvPicPr>
          <p:cNvPr id="23564" name="picture 644"/>
          <p:cNvPicPr>
            <a:picLocks noChangeAspect="1"/>
          </p:cNvPicPr>
          <p:nvPr>
            <p:custDataLst>
              <p:tags r:id="rId74"/>
            </p:custDataLst>
          </p:nvPr>
        </p:nvPicPr>
        <p:blipFill>
          <a:blip r:embed="rId75"/>
          <a:stretch>
            <a:fillRect/>
          </a:stretch>
        </p:blipFill>
        <p:spPr>
          <a:xfrm>
            <a:off x="4121944" y="4611614"/>
            <a:ext cx="581323" cy="388441"/>
          </a:xfrm>
          <a:prstGeom prst="rect">
            <a:avLst/>
          </a:prstGeom>
          <a:noFill/>
          <a:ln w="9525">
            <a:noFill/>
          </a:ln>
        </p:spPr>
      </p:pic>
      <p:pic>
        <p:nvPicPr>
          <p:cNvPr id="23565" name="picture 646"/>
          <p:cNvPicPr>
            <a:picLocks noChangeAspect="1"/>
          </p:cNvPicPr>
          <p:nvPr>
            <p:custDataLst>
              <p:tags r:id="rId76"/>
            </p:custDataLst>
          </p:nvPr>
        </p:nvPicPr>
        <p:blipFill>
          <a:blip r:embed="rId77"/>
          <a:stretch>
            <a:fillRect/>
          </a:stretch>
        </p:blipFill>
        <p:spPr>
          <a:xfrm>
            <a:off x="5468094" y="3461024"/>
            <a:ext cx="921544" cy="222349"/>
          </a:xfrm>
          <a:prstGeom prst="rect">
            <a:avLst/>
          </a:prstGeom>
          <a:noFill/>
          <a:ln w="9525">
            <a:noFill/>
          </a:ln>
        </p:spPr>
      </p:pic>
      <p:pic>
        <p:nvPicPr>
          <p:cNvPr id="23566" name="picture 648"/>
          <p:cNvPicPr>
            <a:picLocks noChangeAspect="1"/>
          </p:cNvPicPr>
          <p:nvPr>
            <p:custDataLst>
              <p:tags r:id="rId78"/>
            </p:custDataLst>
          </p:nvPr>
        </p:nvPicPr>
        <p:blipFill>
          <a:blip r:embed="rId79"/>
          <a:stretch>
            <a:fillRect/>
          </a:stretch>
        </p:blipFill>
        <p:spPr>
          <a:xfrm>
            <a:off x="4740771" y="4653137"/>
            <a:ext cx="869306" cy="233065"/>
          </a:xfrm>
          <a:prstGeom prst="rect">
            <a:avLst/>
          </a:prstGeom>
          <a:noFill/>
          <a:ln w="9525">
            <a:noFill/>
          </a:ln>
        </p:spPr>
      </p:pic>
      <p:pic>
        <p:nvPicPr>
          <p:cNvPr id="23567" name="picture 650"/>
          <p:cNvPicPr>
            <a:picLocks noChangeAspect="1"/>
          </p:cNvPicPr>
          <p:nvPr>
            <p:custDataLst>
              <p:tags r:id="rId80"/>
            </p:custDataLst>
          </p:nvPr>
        </p:nvPicPr>
        <p:blipFill>
          <a:blip r:embed="rId81"/>
          <a:stretch>
            <a:fillRect/>
          </a:stretch>
        </p:blipFill>
        <p:spPr>
          <a:xfrm>
            <a:off x="4703266" y="3454326"/>
            <a:ext cx="679103" cy="290661"/>
          </a:xfrm>
          <a:prstGeom prst="rect">
            <a:avLst/>
          </a:prstGeom>
          <a:noFill/>
          <a:ln w="9525">
            <a:noFill/>
          </a:ln>
        </p:spPr>
      </p:pic>
      <p:pic>
        <p:nvPicPr>
          <p:cNvPr id="23568" name="picture 652"/>
          <p:cNvPicPr>
            <a:picLocks noChangeAspect="1"/>
          </p:cNvPicPr>
          <p:nvPr>
            <p:custDataLst>
              <p:tags r:id="rId82"/>
            </p:custDataLst>
          </p:nvPr>
        </p:nvPicPr>
        <p:blipFill>
          <a:blip r:embed="rId83"/>
          <a:stretch>
            <a:fillRect/>
          </a:stretch>
        </p:blipFill>
        <p:spPr>
          <a:xfrm>
            <a:off x="1950691" y="3802584"/>
            <a:ext cx="646956" cy="290661"/>
          </a:xfrm>
          <a:prstGeom prst="rect">
            <a:avLst/>
          </a:prstGeom>
          <a:noFill/>
          <a:ln w="9525">
            <a:noFill/>
          </a:ln>
        </p:spPr>
      </p:pic>
      <p:pic>
        <p:nvPicPr>
          <p:cNvPr id="23569" name="picture 654"/>
          <p:cNvPicPr>
            <a:picLocks noChangeAspect="1"/>
          </p:cNvPicPr>
          <p:nvPr>
            <p:custDataLst>
              <p:tags r:id="rId84"/>
            </p:custDataLst>
          </p:nvPr>
        </p:nvPicPr>
        <p:blipFill>
          <a:blip r:embed="rId85"/>
          <a:stretch>
            <a:fillRect/>
          </a:stretch>
        </p:blipFill>
        <p:spPr>
          <a:xfrm>
            <a:off x="4707285" y="4255319"/>
            <a:ext cx="763489" cy="241101"/>
          </a:xfrm>
          <a:prstGeom prst="rect">
            <a:avLst/>
          </a:prstGeom>
          <a:noFill/>
          <a:ln w="9525">
            <a:noFill/>
          </a:ln>
        </p:spPr>
      </p:pic>
      <p:pic>
        <p:nvPicPr>
          <p:cNvPr id="23570" name="picture 656"/>
          <p:cNvPicPr>
            <a:picLocks noChangeAspect="1"/>
          </p:cNvPicPr>
          <p:nvPr>
            <p:custDataLst>
              <p:tags r:id="rId86"/>
            </p:custDataLst>
          </p:nvPr>
        </p:nvPicPr>
        <p:blipFill>
          <a:blip r:embed="rId87"/>
          <a:stretch>
            <a:fillRect/>
          </a:stretch>
        </p:blipFill>
        <p:spPr>
          <a:xfrm>
            <a:off x="3783063" y="3446289"/>
            <a:ext cx="716607" cy="253157"/>
          </a:xfrm>
          <a:prstGeom prst="rect">
            <a:avLst/>
          </a:prstGeom>
          <a:noFill/>
          <a:ln w="9525">
            <a:noFill/>
          </a:ln>
        </p:spPr>
      </p:pic>
      <p:pic>
        <p:nvPicPr>
          <p:cNvPr id="23571" name="picture 658"/>
          <p:cNvPicPr>
            <a:picLocks noChangeAspect="1"/>
          </p:cNvPicPr>
          <p:nvPr>
            <p:custDataLst>
              <p:tags r:id="rId88"/>
            </p:custDataLst>
          </p:nvPr>
        </p:nvPicPr>
        <p:blipFill>
          <a:blip r:embed="rId89"/>
          <a:stretch>
            <a:fillRect/>
          </a:stretch>
        </p:blipFill>
        <p:spPr>
          <a:xfrm>
            <a:off x="2895005" y="3443611"/>
            <a:ext cx="579984" cy="308074"/>
          </a:xfrm>
          <a:prstGeom prst="rect">
            <a:avLst/>
          </a:prstGeom>
          <a:noFill/>
          <a:ln w="9525">
            <a:noFill/>
          </a:ln>
        </p:spPr>
      </p:pic>
      <p:pic>
        <p:nvPicPr>
          <p:cNvPr id="23572" name="picture 660"/>
          <p:cNvPicPr>
            <a:picLocks noChangeAspect="1"/>
          </p:cNvPicPr>
          <p:nvPr>
            <p:custDataLst>
              <p:tags r:id="rId90"/>
            </p:custDataLst>
          </p:nvPr>
        </p:nvPicPr>
        <p:blipFill>
          <a:blip r:embed="rId91"/>
          <a:stretch>
            <a:fillRect/>
          </a:stretch>
        </p:blipFill>
        <p:spPr>
          <a:xfrm>
            <a:off x="6443216" y="3822676"/>
            <a:ext cx="646956" cy="270569"/>
          </a:xfrm>
          <a:prstGeom prst="rect">
            <a:avLst/>
          </a:prstGeom>
          <a:noFill/>
          <a:ln w="9525">
            <a:noFill/>
          </a:ln>
        </p:spPr>
      </p:pic>
      <p:pic>
        <p:nvPicPr>
          <p:cNvPr id="23573" name="picture 662"/>
          <p:cNvPicPr>
            <a:picLocks noChangeAspect="1"/>
          </p:cNvPicPr>
          <p:nvPr>
            <p:custDataLst>
              <p:tags r:id="rId92"/>
            </p:custDataLst>
          </p:nvPr>
        </p:nvPicPr>
        <p:blipFill>
          <a:blip r:embed="rId93"/>
          <a:stretch>
            <a:fillRect/>
          </a:stretch>
        </p:blipFill>
        <p:spPr>
          <a:xfrm>
            <a:off x="1958727" y="3483794"/>
            <a:ext cx="877341" cy="192881"/>
          </a:xfrm>
          <a:prstGeom prst="rect">
            <a:avLst/>
          </a:prstGeom>
          <a:noFill/>
          <a:ln w="9525">
            <a:noFill/>
          </a:ln>
        </p:spPr>
      </p:pic>
      <p:pic>
        <p:nvPicPr>
          <p:cNvPr id="23574" name="picture 664"/>
          <p:cNvPicPr>
            <a:picLocks noChangeAspect="1"/>
          </p:cNvPicPr>
          <p:nvPr>
            <p:custDataLst>
              <p:tags r:id="rId94"/>
            </p:custDataLst>
          </p:nvPr>
        </p:nvPicPr>
        <p:blipFill>
          <a:blip r:embed="rId95"/>
          <a:stretch>
            <a:fillRect/>
          </a:stretch>
        </p:blipFill>
        <p:spPr>
          <a:xfrm>
            <a:off x="7246889" y="3403427"/>
            <a:ext cx="566589" cy="297359"/>
          </a:xfrm>
          <a:prstGeom prst="rect">
            <a:avLst/>
          </a:prstGeom>
          <a:noFill/>
          <a:ln w="9525">
            <a:noFill/>
          </a:ln>
        </p:spPr>
      </p:pic>
      <p:pic>
        <p:nvPicPr>
          <p:cNvPr id="23575" name="picture 666"/>
          <p:cNvPicPr>
            <a:picLocks noChangeAspect="1"/>
          </p:cNvPicPr>
          <p:nvPr>
            <p:custDataLst>
              <p:tags r:id="rId96"/>
            </p:custDataLst>
          </p:nvPr>
        </p:nvPicPr>
        <p:blipFill>
          <a:blip r:embed="rId97"/>
          <a:stretch>
            <a:fillRect/>
          </a:stretch>
        </p:blipFill>
        <p:spPr>
          <a:xfrm>
            <a:off x="6449914" y="3439593"/>
            <a:ext cx="633561" cy="263872"/>
          </a:xfrm>
          <a:prstGeom prst="rect">
            <a:avLst/>
          </a:prstGeom>
          <a:noFill/>
          <a:ln w="9525">
            <a:noFill/>
          </a:ln>
        </p:spPr>
      </p:pic>
      <p:pic>
        <p:nvPicPr>
          <p:cNvPr id="23576" name="picture 668"/>
          <p:cNvPicPr>
            <a:picLocks noChangeAspect="1"/>
          </p:cNvPicPr>
          <p:nvPr>
            <p:custDataLst>
              <p:tags r:id="rId98"/>
            </p:custDataLst>
          </p:nvPr>
        </p:nvPicPr>
        <p:blipFill>
          <a:blip r:embed="rId99"/>
          <a:stretch>
            <a:fillRect/>
          </a:stretch>
        </p:blipFill>
        <p:spPr>
          <a:xfrm>
            <a:off x="3420070" y="4611614"/>
            <a:ext cx="463451" cy="338882"/>
          </a:xfrm>
          <a:prstGeom prst="rect">
            <a:avLst/>
          </a:prstGeom>
          <a:noFill/>
          <a:ln w="9525">
            <a:noFill/>
          </a:ln>
        </p:spPr>
      </p:pic>
      <p:pic>
        <p:nvPicPr>
          <p:cNvPr id="23577" name="picture 670"/>
          <p:cNvPicPr>
            <a:picLocks noChangeAspect="1"/>
          </p:cNvPicPr>
          <p:nvPr>
            <p:custDataLst>
              <p:tags r:id="rId100"/>
            </p:custDataLst>
          </p:nvPr>
        </p:nvPicPr>
        <p:blipFill>
          <a:blip r:embed="rId101"/>
          <a:stretch>
            <a:fillRect/>
          </a:stretch>
        </p:blipFill>
        <p:spPr>
          <a:xfrm>
            <a:off x="5610076" y="4225851"/>
            <a:ext cx="569267" cy="275927"/>
          </a:xfrm>
          <a:prstGeom prst="rect">
            <a:avLst/>
          </a:prstGeom>
          <a:noFill/>
          <a:ln w="9525">
            <a:noFill/>
          </a:ln>
        </p:spPr>
      </p:pic>
      <p:pic>
        <p:nvPicPr>
          <p:cNvPr id="23578" name="picture 672"/>
          <p:cNvPicPr>
            <a:picLocks noChangeAspect="1"/>
          </p:cNvPicPr>
          <p:nvPr>
            <p:custDataLst>
              <p:tags r:id="rId102"/>
            </p:custDataLst>
          </p:nvPr>
        </p:nvPicPr>
        <p:blipFill>
          <a:blip r:embed="rId103"/>
          <a:stretch>
            <a:fillRect/>
          </a:stretch>
        </p:blipFill>
        <p:spPr>
          <a:xfrm>
            <a:off x="2834730" y="3837410"/>
            <a:ext cx="800993" cy="190202"/>
          </a:xfrm>
          <a:prstGeom prst="rect">
            <a:avLst/>
          </a:prstGeom>
          <a:noFill/>
          <a:ln w="9525">
            <a:noFill/>
          </a:ln>
        </p:spPr>
      </p:pic>
      <p:pic>
        <p:nvPicPr>
          <p:cNvPr id="23579" name="picture 674"/>
          <p:cNvPicPr>
            <a:picLocks noChangeAspect="1"/>
          </p:cNvPicPr>
          <p:nvPr>
            <p:custDataLst>
              <p:tags r:id="rId104"/>
            </p:custDataLst>
          </p:nvPr>
        </p:nvPicPr>
        <p:blipFill>
          <a:blip r:embed="rId105"/>
          <a:stretch>
            <a:fillRect/>
          </a:stretch>
        </p:blipFill>
        <p:spPr>
          <a:xfrm>
            <a:off x="3867448" y="4225851"/>
            <a:ext cx="664369" cy="230386"/>
          </a:xfrm>
          <a:prstGeom prst="rect">
            <a:avLst/>
          </a:prstGeom>
          <a:noFill/>
          <a:ln w="9525">
            <a:noFill/>
          </a:ln>
        </p:spPr>
      </p:pic>
      <p:pic>
        <p:nvPicPr>
          <p:cNvPr id="23580" name="picture 676"/>
          <p:cNvPicPr>
            <a:picLocks noChangeAspect="1"/>
          </p:cNvPicPr>
          <p:nvPr>
            <p:custDataLst>
              <p:tags r:id="rId106"/>
            </p:custDataLst>
          </p:nvPr>
        </p:nvPicPr>
        <p:blipFill>
          <a:blip r:embed="rId107"/>
          <a:stretch>
            <a:fillRect/>
          </a:stretch>
        </p:blipFill>
        <p:spPr>
          <a:xfrm>
            <a:off x="6412409" y="4247283"/>
            <a:ext cx="602754" cy="234405"/>
          </a:xfrm>
          <a:prstGeom prst="rect">
            <a:avLst/>
          </a:prstGeom>
          <a:noFill/>
          <a:ln w="9525">
            <a:noFill/>
          </a:ln>
        </p:spPr>
      </p:pic>
      <p:pic>
        <p:nvPicPr>
          <p:cNvPr id="23581" name="picture 678"/>
          <p:cNvPicPr>
            <a:picLocks noChangeAspect="1"/>
          </p:cNvPicPr>
          <p:nvPr>
            <p:custDataLst>
              <p:tags r:id="rId108"/>
            </p:custDataLst>
          </p:nvPr>
        </p:nvPicPr>
        <p:blipFill>
          <a:blip r:embed="rId109"/>
          <a:stretch>
            <a:fillRect/>
          </a:stretch>
        </p:blipFill>
        <p:spPr>
          <a:xfrm>
            <a:off x="1981498" y="4287466"/>
            <a:ext cx="659011" cy="210294"/>
          </a:xfrm>
          <a:prstGeom prst="rect">
            <a:avLst/>
          </a:prstGeom>
          <a:noFill/>
          <a:ln w="9525">
            <a:noFill/>
          </a:ln>
        </p:spPr>
      </p:pic>
      <p:pic>
        <p:nvPicPr>
          <p:cNvPr id="23582" name="picture 680"/>
          <p:cNvPicPr>
            <a:picLocks noChangeAspect="1"/>
          </p:cNvPicPr>
          <p:nvPr>
            <p:custDataLst>
              <p:tags r:id="rId110"/>
            </p:custDataLst>
          </p:nvPr>
        </p:nvPicPr>
        <p:blipFill>
          <a:blip r:embed="rId111"/>
          <a:stretch>
            <a:fillRect/>
          </a:stretch>
        </p:blipFill>
        <p:spPr>
          <a:xfrm>
            <a:off x="5660976" y="3837410"/>
            <a:ext cx="561231" cy="229047"/>
          </a:xfrm>
          <a:prstGeom prst="rect">
            <a:avLst/>
          </a:prstGeom>
          <a:noFill/>
          <a:ln w="9525">
            <a:noFill/>
          </a:ln>
        </p:spPr>
      </p:pic>
      <p:pic>
        <p:nvPicPr>
          <p:cNvPr id="23583" name="picture 682"/>
          <p:cNvPicPr>
            <a:picLocks noChangeAspect="1"/>
          </p:cNvPicPr>
          <p:nvPr>
            <p:custDataLst>
              <p:tags r:id="rId112"/>
            </p:custDataLst>
          </p:nvPr>
        </p:nvPicPr>
        <p:blipFill>
          <a:blip r:embed="rId113"/>
          <a:stretch>
            <a:fillRect/>
          </a:stretch>
        </p:blipFill>
        <p:spPr>
          <a:xfrm>
            <a:off x="7254925" y="4232549"/>
            <a:ext cx="604093" cy="211634"/>
          </a:xfrm>
          <a:prstGeom prst="rect">
            <a:avLst/>
          </a:prstGeom>
          <a:noFill/>
          <a:ln w="9525">
            <a:noFill/>
          </a:ln>
        </p:spPr>
      </p:pic>
      <p:pic>
        <p:nvPicPr>
          <p:cNvPr id="23584" name="picture 684"/>
          <p:cNvPicPr>
            <a:picLocks noChangeAspect="1"/>
          </p:cNvPicPr>
          <p:nvPr>
            <p:custDataLst>
              <p:tags r:id="rId114"/>
            </p:custDataLst>
          </p:nvPr>
        </p:nvPicPr>
        <p:blipFill>
          <a:blip r:embed="rId115"/>
          <a:stretch>
            <a:fillRect/>
          </a:stretch>
        </p:blipFill>
        <p:spPr>
          <a:xfrm>
            <a:off x="5683746" y="4646439"/>
            <a:ext cx="588020" cy="216991"/>
          </a:xfrm>
          <a:prstGeom prst="rect">
            <a:avLst/>
          </a:prstGeom>
          <a:noFill/>
          <a:ln w="9525">
            <a:noFill/>
          </a:ln>
        </p:spPr>
      </p:pic>
      <p:pic>
        <p:nvPicPr>
          <p:cNvPr id="23585" name="picture 686"/>
          <p:cNvPicPr>
            <a:picLocks noChangeAspect="1"/>
          </p:cNvPicPr>
          <p:nvPr>
            <p:custDataLst>
              <p:tags r:id="rId116"/>
            </p:custDataLst>
          </p:nvPr>
        </p:nvPicPr>
        <p:blipFill>
          <a:blip r:embed="rId117"/>
          <a:stretch>
            <a:fillRect/>
          </a:stretch>
        </p:blipFill>
        <p:spPr>
          <a:xfrm>
            <a:off x="7265641" y="4702696"/>
            <a:ext cx="701874" cy="163414"/>
          </a:xfrm>
          <a:prstGeom prst="rect">
            <a:avLst/>
          </a:prstGeom>
          <a:noFill/>
          <a:ln w="9525">
            <a:noFill/>
          </a:ln>
        </p:spPr>
      </p:pic>
      <p:pic>
        <p:nvPicPr>
          <p:cNvPr id="23586" name="picture 688"/>
          <p:cNvPicPr>
            <a:picLocks noChangeAspect="1"/>
          </p:cNvPicPr>
          <p:nvPr>
            <p:custDataLst>
              <p:tags r:id="rId118"/>
            </p:custDataLst>
          </p:nvPr>
        </p:nvPicPr>
        <p:blipFill>
          <a:blip r:embed="rId119"/>
          <a:stretch>
            <a:fillRect/>
          </a:stretch>
        </p:blipFill>
        <p:spPr>
          <a:xfrm>
            <a:off x="7238851" y="3896346"/>
            <a:ext cx="659011" cy="158056"/>
          </a:xfrm>
          <a:prstGeom prst="rect">
            <a:avLst/>
          </a:prstGeom>
          <a:noFill/>
          <a:ln w="9525">
            <a:noFill/>
          </a:ln>
        </p:spPr>
      </p:pic>
      <p:pic>
        <p:nvPicPr>
          <p:cNvPr id="23587" name="picture 690"/>
          <p:cNvPicPr>
            <a:picLocks noChangeAspect="1"/>
          </p:cNvPicPr>
          <p:nvPr>
            <p:custDataLst>
              <p:tags r:id="rId120"/>
            </p:custDataLst>
          </p:nvPr>
        </p:nvPicPr>
        <p:blipFill>
          <a:blip r:embed="rId121"/>
          <a:stretch>
            <a:fillRect/>
          </a:stretch>
        </p:blipFill>
        <p:spPr>
          <a:xfrm>
            <a:off x="6474024" y="4700018"/>
            <a:ext cx="546497" cy="158056"/>
          </a:xfrm>
          <a:prstGeom prst="rect">
            <a:avLst/>
          </a:prstGeom>
          <a:noFill/>
          <a:ln w="9525">
            <a:noFill/>
          </a:ln>
        </p:spPr>
      </p:pic>
      <p:pic>
        <p:nvPicPr>
          <p:cNvPr id="23588" name="picture 692"/>
          <p:cNvPicPr>
            <a:picLocks noChangeAspect="1"/>
          </p:cNvPicPr>
          <p:nvPr>
            <p:custDataLst>
              <p:tags r:id="rId122"/>
            </p:custDataLst>
          </p:nvPr>
        </p:nvPicPr>
        <p:blipFill>
          <a:blip r:embed="rId123"/>
          <a:stretch>
            <a:fillRect/>
          </a:stretch>
        </p:blipFill>
        <p:spPr>
          <a:xfrm>
            <a:off x="1165771" y="4302201"/>
            <a:ext cx="530424" cy="159394"/>
          </a:xfrm>
          <a:prstGeom prst="rect">
            <a:avLst/>
          </a:prstGeom>
          <a:noFill/>
          <a:ln w="9525">
            <a:noFill/>
          </a:ln>
        </p:spPr>
      </p:pic>
      <p:sp>
        <p:nvSpPr>
          <p:cNvPr id="4" name="textbox 104"/>
          <p:cNvSpPr/>
          <p:nvPr>
            <p:custDataLst>
              <p:tags r:id="rId124"/>
            </p:custDataLst>
          </p:nvPr>
        </p:nvSpPr>
        <p:spPr>
          <a:xfrm>
            <a:off x="1077526" y="3157218"/>
            <a:ext cx="1830070" cy="230505"/>
          </a:xfrm>
          <a:prstGeom prst="rect">
            <a:avLst/>
          </a:prstGeom>
        </p:spPr>
        <p:txBody>
          <a:bodyPr vert="horz" wrap="none" lIns="0" tIns="0" rIns="0" bIns="0">
            <a:spAutoFit/>
          </a:bodyPr>
          <a:p>
            <a:pPr marL="12700" algn="l" rtl="0" eaLnBrk="0">
              <a:lnSpc>
                <a:spcPct val="94000"/>
              </a:lnSpc>
            </a:pPr>
            <a:r>
              <a:rPr lang="zh-CN" altLang="en-US" sz="1600" b="1" kern="0" spc="90" dirty="0">
                <a:solidFill>
                  <a:srgbClr val="0070C0">
                    <a:alpha val="100000"/>
                  </a:srgbClr>
                </a:solidFill>
                <a:latin typeface="微软雅黑" panose="020B0503020204020204" charset="-122"/>
                <a:ea typeface="微软雅黑" panose="020B0503020204020204" charset="-122"/>
                <a:cs typeface="微软雅黑" panose="020B0503020204020204" charset="-122"/>
              </a:rPr>
              <a:t>寿险板块</a:t>
            </a:r>
            <a:r>
              <a:rPr lang="en-US" altLang="zh-CN" sz="1600" b="1" kern="0" spc="90" dirty="0">
                <a:solidFill>
                  <a:srgbClr val="0070C0">
                    <a:alpha val="100000"/>
                  </a:srgbClr>
                </a:solidFill>
                <a:latin typeface="微软雅黑" panose="020B0503020204020204" charset="-122"/>
                <a:ea typeface="微软雅黑" panose="020B0503020204020204" charset="-122"/>
                <a:cs typeface="微软雅黑" panose="020B0503020204020204" charset="-122"/>
              </a:rPr>
              <a:t>-</a:t>
            </a:r>
            <a:r>
              <a:rPr lang="zh-CN" altLang="en-US" sz="1600" b="1" kern="0" spc="90" dirty="0">
                <a:solidFill>
                  <a:srgbClr val="0070C0">
                    <a:alpha val="100000"/>
                  </a:srgbClr>
                </a:solidFill>
                <a:latin typeface="微软雅黑" panose="020B0503020204020204" charset="-122"/>
                <a:ea typeface="微软雅黑" panose="020B0503020204020204" charset="-122"/>
                <a:cs typeface="微软雅黑" panose="020B0503020204020204" charset="-122"/>
              </a:rPr>
              <a:t>合作机构</a:t>
            </a:r>
            <a:endParaRPr lang="zh-CN" altLang="en-US" sz="1600" b="1" kern="0" spc="90" dirty="0">
              <a:solidFill>
                <a:srgbClr val="0070C0">
                  <a:alpha val="100000"/>
                </a:srgb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微信截图_20240604155649"/>
          <p:cNvPicPr>
            <a:picLocks noChangeAspect="1"/>
          </p:cNvPicPr>
          <p:nvPr>
            <p:custDataLst>
              <p:tags r:id="rId1"/>
            </p:custDataLst>
          </p:nvPr>
        </p:nvPicPr>
        <p:blipFill>
          <a:blip r:embed="rId2"/>
          <a:stretch>
            <a:fillRect/>
          </a:stretch>
        </p:blipFill>
        <p:spPr>
          <a:xfrm>
            <a:off x="7376795" y="4498340"/>
            <a:ext cx="1764030" cy="645160"/>
          </a:xfrm>
          <a:prstGeom prst="rect">
            <a:avLst/>
          </a:prstGeom>
        </p:spPr>
      </p:pic>
      <p:sp>
        <p:nvSpPr>
          <p:cNvPr id="2" name="标题 1"/>
          <p:cNvSpPr>
            <a:spLocks noGrp="1"/>
          </p:cNvSpPr>
          <p:nvPr>
            <p:ph type="title"/>
          </p:nvPr>
        </p:nvSpPr>
        <p:spPr/>
        <p:txBody>
          <a:bodyPr/>
          <a:lstStyle/>
          <a:p>
            <a:r>
              <a:rPr lang="zh-CN" altLang="en-US" sz="1800" dirty="0">
                <a:solidFill>
                  <a:srgbClr val="C00000"/>
                </a:solidFill>
                <a:latin typeface="微软雅黑" panose="020B0503020204020204" charset="-122"/>
                <a:ea typeface="微软雅黑" panose="020B0503020204020204" charset="-122"/>
              </a:rPr>
              <a:t>核心能力</a:t>
            </a:r>
            <a:endParaRPr lang="zh-CN" altLang="en-US" sz="1800" dirty="0">
              <a:solidFill>
                <a:srgbClr val="C00000"/>
              </a:solidFill>
              <a:latin typeface="微软雅黑" panose="020B0503020204020204" charset="-122"/>
              <a:ea typeface="微软雅黑" panose="020B0503020204020204" charset="-122"/>
            </a:endParaRPr>
          </a:p>
        </p:txBody>
      </p:sp>
      <p:sp>
        <p:nvSpPr>
          <p:cNvPr id="7" name="空心弧 39"/>
          <p:cNvSpPr/>
          <p:nvPr/>
        </p:nvSpPr>
        <p:spPr>
          <a:xfrm rot="5400000">
            <a:off x="433388" y="1101725"/>
            <a:ext cx="3141662" cy="2925763"/>
          </a:xfrm>
          <a:custGeom>
            <a:avLst/>
            <a:gdLst/>
            <a:ahLst/>
            <a:cxnLst/>
            <a:rect l="0" t="0" r="0" b="0"/>
            <a:pathLst/>
          </a:custGeom>
          <a:noFill/>
          <a:ln w="9525">
            <a:noFill/>
          </a:ln>
        </p:spPr>
        <p:txBody>
          <a:bodyPr lIns="91425" tIns="45713" rIns="91425" bIns="45713" anchor="ctr" anchorCtr="0"/>
          <a:p>
            <a:pPr algn="ctr"/>
            <a:endParaRPr sz="240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8" name="直接连接符 45"/>
          <p:cNvSpPr/>
          <p:nvPr/>
        </p:nvSpPr>
        <p:spPr>
          <a:xfrm>
            <a:off x="2614613" y="1187450"/>
            <a:ext cx="1441450" cy="0"/>
          </a:xfrm>
          <a:prstGeom prst="line">
            <a:avLst/>
          </a:prstGeom>
          <a:ln w="12700" cap="flat" cmpd="sng">
            <a:solidFill>
              <a:srgbClr val="9DA8B1"/>
            </a:solidFill>
            <a:prstDash val="solid"/>
            <a:headEnd type="none" w="med" len="med"/>
            <a:tailEnd type="none" w="med" len="med"/>
          </a:ln>
        </p:spPr>
        <p:txBody>
          <a:bodyPr/>
          <a:p>
            <a:endParaRPr lang="zh-CN" altLang="en-US"/>
          </a:p>
        </p:txBody>
      </p:sp>
      <p:sp>
        <p:nvSpPr>
          <p:cNvPr id="9" name="直接连接符 51"/>
          <p:cNvSpPr/>
          <p:nvPr/>
        </p:nvSpPr>
        <p:spPr>
          <a:xfrm>
            <a:off x="2663825" y="3978275"/>
            <a:ext cx="1439863" cy="0"/>
          </a:xfrm>
          <a:prstGeom prst="line">
            <a:avLst/>
          </a:prstGeom>
          <a:ln w="12700" cap="flat" cmpd="sng">
            <a:solidFill>
              <a:srgbClr val="9DA8B1"/>
            </a:solidFill>
            <a:prstDash val="solid"/>
            <a:headEnd type="none" w="med" len="med"/>
            <a:tailEnd type="none" w="med" len="med"/>
          </a:ln>
        </p:spPr>
        <p:txBody>
          <a:bodyPr/>
          <a:p>
            <a:endParaRPr lang="zh-CN" altLang="en-US"/>
          </a:p>
        </p:txBody>
      </p:sp>
      <p:sp>
        <p:nvSpPr>
          <p:cNvPr id="10" name="直接连接符 3"/>
          <p:cNvSpPr/>
          <p:nvPr/>
        </p:nvSpPr>
        <p:spPr>
          <a:xfrm>
            <a:off x="3486150" y="2133600"/>
            <a:ext cx="1333500" cy="0"/>
          </a:xfrm>
          <a:prstGeom prst="line">
            <a:avLst/>
          </a:prstGeom>
          <a:ln w="12700" cap="flat" cmpd="sng">
            <a:solidFill>
              <a:srgbClr val="9DA8B1"/>
            </a:solidFill>
            <a:prstDash val="solid"/>
            <a:headEnd type="none" w="med" len="med"/>
            <a:tailEnd type="none" w="med" len="med"/>
          </a:ln>
        </p:spPr>
        <p:txBody>
          <a:bodyPr/>
          <a:p>
            <a:endParaRPr lang="zh-CN" altLang="en-US"/>
          </a:p>
        </p:txBody>
      </p:sp>
      <p:sp>
        <p:nvSpPr>
          <p:cNvPr id="11" name="直接连接符 4"/>
          <p:cNvSpPr/>
          <p:nvPr/>
        </p:nvSpPr>
        <p:spPr>
          <a:xfrm>
            <a:off x="3341688" y="3117850"/>
            <a:ext cx="1439862" cy="1588"/>
          </a:xfrm>
          <a:prstGeom prst="line">
            <a:avLst/>
          </a:prstGeom>
          <a:ln w="12700" cap="flat" cmpd="sng">
            <a:solidFill>
              <a:srgbClr val="9DA8B1"/>
            </a:solidFill>
            <a:prstDash val="solid"/>
            <a:headEnd type="none" w="med" len="med"/>
            <a:tailEnd type="none" w="med" len="med"/>
          </a:ln>
        </p:spPr>
        <p:txBody>
          <a:bodyPr/>
          <a:p>
            <a:endParaRPr lang="zh-CN" altLang="en-US"/>
          </a:p>
        </p:txBody>
      </p:sp>
      <p:sp>
        <p:nvSpPr>
          <p:cNvPr id="12" name="矩形 5"/>
          <p:cNvSpPr/>
          <p:nvPr/>
        </p:nvSpPr>
        <p:spPr>
          <a:xfrm>
            <a:off x="4892764" y="577851"/>
            <a:ext cx="2682875" cy="381000"/>
          </a:xfrm>
          <a:prstGeom prst="rect">
            <a:avLst/>
          </a:prstGeom>
          <a:noFill/>
          <a:ln w="9525">
            <a:noFill/>
          </a:ln>
        </p:spPr>
        <p:txBody>
          <a:bodyPr wrap="square" lIns="91425" tIns="45713" rIns="91425" bIns="45713"/>
          <a:p>
            <a:r>
              <a:rPr lang="zh-CN" altLang="en-US" sz="1500" b="1" dirty="0">
                <a:solidFill>
                  <a:srgbClr val="000000"/>
                </a:solidFill>
                <a:latin typeface="微软雅黑" panose="020B0503020204020204" charset="-122"/>
                <a:ea typeface="微软雅黑" panose="020B0503020204020204" charset="-122"/>
                <a:sym typeface="微软雅黑" panose="020B0503020204020204" charset="-122"/>
              </a:rPr>
              <a:t>丰富的产品定制及供应能力</a:t>
            </a:r>
            <a:endParaRPr lang="zh-CN" altLang="en-US" sz="1500" b="1" dirty="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13" name="椭圆 73"/>
          <p:cNvSpPr/>
          <p:nvPr/>
        </p:nvSpPr>
        <p:spPr>
          <a:xfrm>
            <a:off x="2387600" y="971550"/>
            <a:ext cx="373063" cy="373063"/>
          </a:xfrm>
          <a:prstGeom prst="ellipse">
            <a:avLst/>
          </a:prstGeom>
          <a:solidFill>
            <a:schemeClr val="accent1"/>
          </a:solidFill>
          <a:ln w="9525">
            <a:noFill/>
          </a:ln>
        </p:spPr>
        <p:txBody>
          <a:bodyPr anchor="ctr" anchorCtr="0"/>
          <a:p>
            <a:pPr algn="ctr">
              <a:buClr>
                <a:schemeClr val="tx2"/>
              </a:buClr>
            </a:pPr>
            <a:r>
              <a:rPr lang="en-US" altLang="zh-CN" sz="100" dirty="0">
                <a:latin typeface="微软雅黑" panose="020B0503020204020204" charset="-122"/>
                <a:ea typeface="微软雅黑" panose="020B0503020204020204" charset="-122"/>
                <a:sym typeface="微软雅黑" panose="020B0503020204020204" charset="-122"/>
              </a:rPr>
              <a:t>1</a:t>
            </a:r>
            <a:endParaRPr lang="en-US" altLang="zh-CN" sz="100" dirty="0">
              <a:latin typeface="微软雅黑" panose="020B0503020204020204" charset="-122"/>
              <a:ea typeface="微软雅黑" panose="020B0503020204020204" charset="-122"/>
              <a:sym typeface="微软雅黑" panose="020B0503020204020204" charset="-122"/>
            </a:endParaRPr>
          </a:p>
        </p:txBody>
      </p:sp>
      <p:sp>
        <p:nvSpPr>
          <p:cNvPr id="23" name="椭圆 74"/>
          <p:cNvSpPr/>
          <p:nvPr/>
        </p:nvSpPr>
        <p:spPr>
          <a:xfrm>
            <a:off x="3178175" y="1931988"/>
            <a:ext cx="374650" cy="373062"/>
          </a:xfrm>
          <a:prstGeom prst="ellipse">
            <a:avLst/>
          </a:prstGeom>
          <a:solidFill>
            <a:schemeClr val="accent1"/>
          </a:solidFill>
          <a:ln w="9525">
            <a:noFill/>
          </a:ln>
        </p:spPr>
        <p:txBody>
          <a:bodyPr anchor="ctr" anchorCtr="0"/>
          <a:p>
            <a:pPr algn="ctr">
              <a:buClr>
                <a:schemeClr val="tx2"/>
              </a:buClr>
            </a:pPr>
            <a:r>
              <a:rPr lang="en-US" altLang="zh-CN" sz="100" dirty="0">
                <a:latin typeface="微软雅黑" panose="020B0503020204020204" charset="-122"/>
                <a:ea typeface="微软雅黑" panose="020B0503020204020204" charset="-122"/>
                <a:sym typeface="微软雅黑" panose="020B0503020204020204" charset="-122"/>
              </a:rPr>
              <a:t>2</a:t>
            </a:r>
            <a:endParaRPr lang="en-US" altLang="zh-CN" sz="100" dirty="0">
              <a:latin typeface="微软雅黑" panose="020B0503020204020204" charset="-122"/>
              <a:ea typeface="微软雅黑" panose="020B0503020204020204" charset="-122"/>
              <a:sym typeface="微软雅黑" panose="020B0503020204020204" charset="-122"/>
            </a:endParaRPr>
          </a:p>
        </p:txBody>
      </p:sp>
      <p:sp>
        <p:nvSpPr>
          <p:cNvPr id="24" name="椭圆 75"/>
          <p:cNvSpPr/>
          <p:nvPr/>
        </p:nvSpPr>
        <p:spPr>
          <a:xfrm>
            <a:off x="3157538" y="2914650"/>
            <a:ext cx="373062" cy="373063"/>
          </a:xfrm>
          <a:prstGeom prst="ellipse">
            <a:avLst/>
          </a:prstGeom>
          <a:solidFill>
            <a:schemeClr val="accent1"/>
          </a:solidFill>
          <a:ln w="9525">
            <a:noFill/>
          </a:ln>
        </p:spPr>
        <p:txBody>
          <a:bodyPr anchor="ctr" anchorCtr="0"/>
          <a:p>
            <a:pPr algn="ctr">
              <a:buClr>
                <a:schemeClr val="tx2"/>
              </a:buClr>
            </a:pPr>
            <a:r>
              <a:rPr lang="en-US" altLang="zh-CN" sz="100" dirty="0">
                <a:latin typeface="微软雅黑" panose="020B0503020204020204" charset="-122"/>
                <a:ea typeface="微软雅黑" panose="020B0503020204020204" charset="-122"/>
                <a:sym typeface="微软雅黑" panose="020B0503020204020204" charset="-122"/>
              </a:rPr>
              <a:t>3</a:t>
            </a:r>
            <a:endParaRPr lang="en-US" altLang="zh-CN" sz="100" dirty="0">
              <a:latin typeface="微软雅黑" panose="020B0503020204020204" charset="-122"/>
              <a:ea typeface="微软雅黑" panose="020B0503020204020204" charset="-122"/>
              <a:sym typeface="微软雅黑" panose="020B0503020204020204" charset="-122"/>
            </a:endParaRPr>
          </a:p>
        </p:txBody>
      </p:sp>
      <p:sp>
        <p:nvSpPr>
          <p:cNvPr id="25" name="椭圆 76"/>
          <p:cNvSpPr/>
          <p:nvPr/>
        </p:nvSpPr>
        <p:spPr>
          <a:xfrm>
            <a:off x="2387600" y="3763963"/>
            <a:ext cx="373063" cy="373062"/>
          </a:xfrm>
          <a:prstGeom prst="ellipse">
            <a:avLst/>
          </a:prstGeom>
          <a:solidFill>
            <a:schemeClr val="accent1"/>
          </a:solidFill>
          <a:ln w="9525">
            <a:noFill/>
          </a:ln>
        </p:spPr>
        <p:txBody>
          <a:bodyPr anchor="ctr" anchorCtr="0"/>
          <a:p>
            <a:pPr algn="ctr">
              <a:buClr>
                <a:schemeClr val="tx2"/>
              </a:buClr>
            </a:pPr>
            <a:r>
              <a:rPr lang="en-US" altLang="zh-CN" sz="100" dirty="0">
                <a:latin typeface="微软雅黑" panose="020B0503020204020204" charset="-122"/>
                <a:ea typeface="微软雅黑" panose="020B0503020204020204" charset="-122"/>
                <a:sym typeface="微软雅黑" panose="020B0503020204020204" charset="-122"/>
              </a:rPr>
              <a:t>4</a:t>
            </a:r>
            <a:endParaRPr lang="en-US" altLang="zh-CN" sz="100" dirty="0">
              <a:latin typeface="微软雅黑" panose="020B0503020204020204" charset="-122"/>
              <a:ea typeface="微软雅黑" panose="020B0503020204020204" charset="-122"/>
              <a:sym typeface="微软雅黑" panose="020B0503020204020204" charset="-122"/>
            </a:endParaRPr>
          </a:p>
        </p:txBody>
      </p:sp>
      <p:sp>
        <p:nvSpPr>
          <p:cNvPr id="26" name="同心圆 78"/>
          <p:cNvSpPr/>
          <p:nvPr/>
        </p:nvSpPr>
        <p:spPr>
          <a:xfrm>
            <a:off x="3875926" y="760413"/>
            <a:ext cx="858837" cy="820737"/>
          </a:xfrm>
          <a:custGeom>
            <a:avLst/>
            <a:gdLst/>
            <a:ahLst/>
            <a:cxnLst/>
            <a:rect l="0" t="0" r="0" b="0"/>
            <a:pathLst/>
          </a:custGeom>
          <a:noFill/>
          <a:ln w="9525">
            <a:noFill/>
          </a:ln>
        </p:spPr>
        <p:txBody>
          <a:bodyPr anchor="ctr" anchorCtr="0"/>
          <a:p>
            <a:pPr algn="ctr"/>
            <a:endParaRPr sz="10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27" name="椭圆 79"/>
          <p:cNvSpPr/>
          <p:nvPr/>
        </p:nvSpPr>
        <p:spPr>
          <a:xfrm>
            <a:off x="3894976" y="777875"/>
            <a:ext cx="820737" cy="785813"/>
          </a:xfrm>
          <a:prstGeom prst="ellipse">
            <a:avLst/>
          </a:prstGeom>
          <a:gradFill rotWithShape="1">
            <a:gsLst>
              <a:gs pos="0">
                <a:srgbClr val="FFFFFF">
                  <a:alpha val="100000"/>
                </a:srgbClr>
              </a:gs>
              <a:gs pos="50998">
                <a:srgbClr val="F2F2F2">
                  <a:alpha val="100000"/>
                </a:srgbClr>
              </a:gs>
              <a:gs pos="100000">
                <a:srgbClr val="BFBFBF">
                  <a:alpha val="100000"/>
                </a:srgbClr>
              </a:gs>
            </a:gsLst>
            <a:lin ang="2700000" scaled="1"/>
            <a:tileRect/>
          </a:gradFill>
          <a:ln w="9525">
            <a:noFill/>
          </a:ln>
        </p:spPr>
        <p:txBody>
          <a:bodyPr anchor="ctr" anchorCtr="0"/>
          <a:p>
            <a:pPr algn="ctr"/>
            <a:endParaRPr sz="10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28" name="Freeform 846"/>
          <p:cNvSpPr/>
          <p:nvPr/>
        </p:nvSpPr>
        <p:spPr>
          <a:xfrm>
            <a:off x="4117226" y="998538"/>
            <a:ext cx="388937" cy="365125"/>
          </a:xfrm>
          <a:custGeom>
            <a:avLst/>
            <a:gdLst>
              <a:gd name="txL" fmla="*/ 0 w 48"/>
              <a:gd name="txT" fmla="*/ 0 h 47"/>
              <a:gd name="txR" fmla="*/ 48 w 48"/>
              <a:gd name="txB" fmla="*/ 47 h 47"/>
            </a:gdLst>
            <a:ahLst/>
            <a:cxnLst>
              <a:cxn ang="0">
                <a:pos x="29" y="0"/>
              </a:cxn>
              <a:cxn ang="0">
                <a:pos x="29" y="7"/>
              </a:cxn>
              <a:cxn ang="0">
                <a:pos x="41" y="23"/>
              </a:cxn>
              <a:cxn ang="0">
                <a:pos x="24" y="41"/>
              </a:cxn>
              <a:cxn ang="0">
                <a:pos x="6" y="23"/>
              </a:cxn>
              <a:cxn ang="0">
                <a:pos x="18" y="7"/>
              </a:cxn>
              <a:cxn ang="0">
                <a:pos x="18" y="0"/>
              </a:cxn>
              <a:cxn ang="0">
                <a:pos x="0" y="23"/>
              </a:cxn>
              <a:cxn ang="0">
                <a:pos x="24" y="47"/>
              </a:cxn>
              <a:cxn ang="0">
                <a:pos x="48" y="23"/>
              </a:cxn>
              <a:cxn ang="0">
                <a:pos x="29" y="0"/>
              </a:cxn>
            </a:cxnLst>
            <a:rect l="txL" t="txT" r="txR" b="txB"/>
            <a:pathLst>
              <a:path w="48" h="47">
                <a:moveTo>
                  <a:pt x="29" y="0"/>
                </a:moveTo>
                <a:cubicBezTo>
                  <a:pt x="29" y="7"/>
                  <a:pt x="29" y="7"/>
                  <a:pt x="29" y="7"/>
                </a:cubicBezTo>
                <a:cubicBezTo>
                  <a:pt x="36" y="9"/>
                  <a:pt x="41" y="16"/>
                  <a:pt x="41" y="23"/>
                </a:cubicBezTo>
                <a:cubicBezTo>
                  <a:pt x="41" y="33"/>
                  <a:pt x="33" y="41"/>
                  <a:pt x="24" y="41"/>
                </a:cubicBezTo>
                <a:cubicBezTo>
                  <a:pt x="14" y="41"/>
                  <a:pt x="6" y="33"/>
                  <a:pt x="6" y="23"/>
                </a:cubicBezTo>
                <a:cubicBezTo>
                  <a:pt x="6" y="16"/>
                  <a:pt x="11" y="9"/>
                  <a:pt x="18" y="7"/>
                </a:cubicBezTo>
                <a:cubicBezTo>
                  <a:pt x="18" y="0"/>
                  <a:pt x="18" y="0"/>
                  <a:pt x="18" y="0"/>
                </a:cubicBezTo>
                <a:cubicBezTo>
                  <a:pt x="7" y="2"/>
                  <a:pt x="0" y="12"/>
                  <a:pt x="0" y="23"/>
                </a:cubicBezTo>
                <a:cubicBezTo>
                  <a:pt x="0" y="37"/>
                  <a:pt x="10" y="47"/>
                  <a:pt x="24" y="47"/>
                </a:cubicBezTo>
                <a:cubicBezTo>
                  <a:pt x="37" y="47"/>
                  <a:pt x="48" y="37"/>
                  <a:pt x="48" y="23"/>
                </a:cubicBezTo>
                <a:cubicBezTo>
                  <a:pt x="48" y="12"/>
                  <a:pt x="40" y="2"/>
                  <a:pt x="29" y="0"/>
                </a:cubicBezTo>
                <a:close/>
              </a:path>
            </a:pathLst>
          </a:custGeom>
          <a:solidFill>
            <a:schemeClr val="accent1"/>
          </a:solidFill>
          <a:ln w="9525">
            <a:noFill/>
          </a:ln>
        </p:spPr>
        <p:txBody>
          <a:bodyPr lIns="121912" tIns="60956" rIns="121912" bIns="60956"/>
          <a:p>
            <a:endParaRPr sz="240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29" name="Freeform 847"/>
          <p:cNvSpPr/>
          <p:nvPr/>
        </p:nvSpPr>
        <p:spPr>
          <a:xfrm>
            <a:off x="4271213" y="914400"/>
            <a:ext cx="71438" cy="215900"/>
          </a:xfrm>
          <a:custGeom>
            <a:avLst/>
            <a:gdLst>
              <a:gd name="txL" fmla="*/ 0 w 9"/>
              <a:gd name="txT" fmla="*/ 0 h 28"/>
              <a:gd name="txR" fmla="*/ 9 w 9"/>
              <a:gd name="txB" fmla="*/ 28 h 28"/>
            </a:gdLst>
            <a:ahLst/>
            <a:cxnLst>
              <a:cxn ang="0">
                <a:pos x="7" y="0"/>
              </a:cxn>
              <a:cxn ang="0">
                <a:pos x="2" y="0"/>
              </a:cxn>
              <a:cxn ang="0">
                <a:pos x="0" y="2"/>
              </a:cxn>
              <a:cxn ang="0">
                <a:pos x="0" y="10"/>
              </a:cxn>
              <a:cxn ang="0">
                <a:pos x="0" y="16"/>
              </a:cxn>
              <a:cxn ang="0">
                <a:pos x="0" y="26"/>
              </a:cxn>
              <a:cxn ang="0">
                <a:pos x="2" y="28"/>
              </a:cxn>
              <a:cxn ang="0">
                <a:pos x="7" y="28"/>
              </a:cxn>
              <a:cxn ang="0">
                <a:pos x="9" y="26"/>
              </a:cxn>
              <a:cxn ang="0">
                <a:pos x="9" y="16"/>
              </a:cxn>
              <a:cxn ang="0">
                <a:pos x="9" y="10"/>
              </a:cxn>
              <a:cxn ang="0">
                <a:pos x="9" y="2"/>
              </a:cxn>
              <a:cxn ang="0">
                <a:pos x="7" y="0"/>
              </a:cxn>
            </a:cxnLst>
            <a:rect l="txL" t="txT" r="txR" b="txB"/>
            <a:pathLst>
              <a:path w="9" h="28">
                <a:moveTo>
                  <a:pt x="7" y="0"/>
                </a:moveTo>
                <a:cubicBezTo>
                  <a:pt x="2" y="0"/>
                  <a:pt x="2" y="0"/>
                  <a:pt x="2" y="0"/>
                </a:cubicBezTo>
                <a:cubicBezTo>
                  <a:pt x="1" y="0"/>
                  <a:pt x="0" y="1"/>
                  <a:pt x="0" y="2"/>
                </a:cubicBezTo>
                <a:cubicBezTo>
                  <a:pt x="0" y="10"/>
                  <a:pt x="0" y="10"/>
                  <a:pt x="0" y="10"/>
                </a:cubicBezTo>
                <a:cubicBezTo>
                  <a:pt x="0" y="16"/>
                  <a:pt x="0" y="16"/>
                  <a:pt x="0" y="16"/>
                </a:cubicBezTo>
                <a:cubicBezTo>
                  <a:pt x="0" y="26"/>
                  <a:pt x="0" y="26"/>
                  <a:pt x="0" y="26"/>
                </a:cubicBezTo>
                <a:cubicBezTo>
                  <a:pt x="0" y="27"/>
                  <a:pt x="1" y="28"/>
                  <a:pt x="2" y="28"/>
                </a:cubicBezTo>
                <a:cubicBezTo>
                  <a:pt x="7" y="28"/>
                  <a:pt x="7" y="28"/>
                  <a:pt x="7" y="28"/>
                </a:cubicBezTo>
                <a:cubicBezTo>
                  <a:pt x="8" y="28"/>
                  <a:pt x="9" y="27"/>
                  <a:pt x="9" y="26"/>
                </a:cubicBezTo>
                <a:cubicBezTo>
                  <a:pt x="9" y="16"/>
                  <a:pt x="9" y="16"/>
                  <a:pt x="9" y="16"/>
                </a:cubicBezTo>
                <a:cubicBezTo>
                  <a:pt x="9" y="10"/>
                  <a:pt x="9" y="10"/>
                  <a:pt x="9" y="10"/>
                </a:cubicBezTo>
                <a:cubicBezTo>
                  <a:pt x="9" y="2"/>
                  <a:pt x="9" y="2"/>
                  <a:pt x="9" y="2"/>
                </a:cubicBezTo>
                <a:cubicBezTo>
                  <a:pt x="9" y="1"/>
                  <a:pt x="8" y="0"/>
                  <a:pt x="7" y="0"/>
                </a:cubicBezTo>
                <a:close/>
              </a:path>
            </a:pathLst>
          </a:custGeom>
          <a:solidFill>
            <a:schemeClr val="accent1"/>
          </a:solidFill>
          <a:ln w="9525">
            <a:noFill/>
          </a:ln>
        </p:spPr>
        <p:txBody>
          <a:bodyPr lIns="121912" tIns="60956" rIns="121912" bIns="60956"/>
          <a:p>
            <a:pPr>
              <a:buClr>
                <a:schemeClr val="tx2"/>
              </a:buClr>
            </a:pPr>
            <a:endParaRPr sz="2400">
              <a:latin typeface="微软雅黑" panose="020B0503020204020204" charset="-122"/>
              <a:ea typeface="微软雅黑" panose="020B0503020204020204" charset="-122"/>
              <a:sym typeface="微软雅黑" panose="020B0503020204020204" charset="-122"/>
            </a:endParaRPr>
          </a:p>
        </p:txBody>
      </p:sp>
      <p:sp>
        <p:nvSpPr>
          <p:cNvPr id="30" name="同心圆 81"/>
          <p:cNvSpPr/>
          <p:nvPr/>
        </p:nvSpPr>
        <p:spPr>
          <a:xfrm>
            <a:off x="4469651" y="1643063"/>
            <a:ext cx="858837" cy="858837"/>
          </a:xfrm>
          <a:custGeom>
            <a:avLst/>
            <a:gdLst/>
            <a:ahLst/>
            <a:cxnLst/>
            <a:rect l="0" t="0" r="0" b="0"/>
            <a:pathLst/>
          </a:custGeom>
          <a:noFill/>
          <a:ln w="9525">
            <a:noFill/>
          </a:ln>
        </p:spPr>
        <p:txBody>
          <a:bodyPr anchor="ctr" anchorCtr="0"/>
          <a:p>
            <a:pPr algn="ctr"/>
            <a:endParaRPr sz="10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31" name="椭圆 82"/>
          <p:cNvSpPr/>
          <p:nvPr/>
        </p:nvSpPr>
        <p:spPr>
          <a:xfrm>
            <a:off x="4488701" y="1662113"/>
            <a:ext cx="820737" cy="820737"/>
          </a:xfrm>
          <a:prstGeom prst="ellipse">
            <a:avLst/>
          </a:prstGeom>
          <a:gradFill rotWithShape="1">
            <a:gsLst>
              <a:gs pos="0">
                <a:srgbClr val="FFFFFF">
                  <a:alpha val="100000"/>
                </a:srgbClr>
              </a:gs>
              <a:gs pos="50998">
                <a:srgbClr val="F2F2F2">
                  <a:alpha val="100000"/>
                </a:srgbClr>
              </a:gs>
              <a:gs pos="100000">
                <a:srgbClr val="BFBFBF">
                  <a:alpha val="100000"/>
                </a:srgbClr>
              </a:gs>
            </a:gsLst>
            <a:lin ang="2700000" scaled="1"/>
            <a:tileRect/>
          </a:gradFill>
          <a:ln w="9525">
            <a:noFill/>
          </a:ln>
        </p:spPr>
        <p:txBody>
          <a:bodyPr anchor="ctr" anchorCtr="0"/>
          <a:p>
            <a:pPr algn="ctr"/>
            <a:endParaRPr sz="10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32" name="同心圆 85"/>
          <p:cNvSpPr/>
          <p:nvPr/>
        </p:nvSpPr>
        <p:spPr>
          <a:xfrm>
            <a:off x="4499813" y="2689225"/>
            <a:ext cx="860425" cy="858838"/>
          </a:xfrm>
          <a:custGeom>
            <a:avLst/>
            <a:gdLst/>
            <a:ahLst/>
            <a:cxnLst/>
            <a:rect l="0" t="0" r="0" b="0"/>
            <a:pathLst/>
          </a:custGeom>
          <a:noFill/>
          <a:ln w="9525">
            <a:noFill/>
          </a:ln>
        </p:spPr>
        <p:txBody>
          <a:bodyPr anchor="ctr" anchorCtr="0"/>
          <a:p>
            <a:pPr algn="ctr"/>
            <a:endParaRPr sz="10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33" name="椭圆 86"/>
          <p:cNvSpPr/>
          <p:nvPr/>
        </p:nvSpPr>
        <p:spPr>
          <a:xfrm>
            <a:off x="4518863" y="2708275"/>
            <a:ext cx="822325" cy="820738"/>
          </a:xfrm>
          <a:prstGeom prst="ellipse">
            <a:avLst/>
          </a:prstGeom>
          <a:gradFill rotWithShape="1">
            <a:gsLst>
              <a:gs pos="0">
                <a:srgbClr val="FFFFFF">
                  <a:alpha val="100000"/>
                </a:srgbClr>
              </a:gs>
              <a:gs pos="50998">
                <a:srgbClr val="F2F2F2">
                  <a:alpha val="100000"/>
                </a:srgbClr>
              </a:gs>
              <a:gs pos="100000">
                <a:srgbClr val="BFBFBF">
                  <a:alpha val="100000"/>
                </a:srgbClr>
              </a:gs>
            </a:gsLst>
            <a:lin ang="2700000" scaled="1"/>
            <a:tileRect/>
          </a:gradFill>
          <a:ln w="9525">
            <a:noFill/>
          </a:ln>
        </p:spPr>
        <p:txBody>
          <a:bodyPr anchor="ctr" anchorCtr="0"/>
          <a:p>
            <a:pPr algn="ctr"/>
            <a:endParaRPr sz="10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34" name="同心圆 89"/>
          <p:cNvSpPr/>
          <p:nvPr/>
        </p:nvSpPr>
        <p:spPr>
          <a:xfrm>
            <a:off x="3780676" y="3559175"/>
            <a:ext cx="858837" cy="860425"/>
          </a:xfrm>
          <a:custGeom>
            <a:avLst/>
            <a:gdLst/>
            <a:ahLst/>
            <a:cxnLst/>
            <a:rect l="0" t="0" r="0" b="0"/>
            <a:pathLst/>
          </a:custGeom>
          <a:noFill/>
          <a:ln w="9525">
            <a:noFill/>
          </a:ln>
        </p:spPr>
        <p:txBody>
          <a:bodyPr anchor="ctr" anchorCtr="0"/>
          <a:p>
            <a:pPr algn="ctr"/>
            <a:endParaRPr sz="10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35" name="椭圆 90"/>
          <p:cNvSpPr/>
          <p:nvPr/>
        </p:nvSpPr>
        <p:spPr>
          <a:xfrm>
            <a:off x="3799726" y="3578225"/>
            <a:ext cx="820737" cy="822325"/>
          </a:xfrm>
          <a:prstGeom prst="ellipse">
            <a:avLst/>
          </a:prstGeom>
          <a:gradFill rotWithShape="1">
            <a:gsLst>
              <a:gs pos="0">
                <a:srgbClr val="FFFFFF">
                  <a:alpha val="100000"/>
                </a:srgbClr>
              </a:gs>
              <a:gs pos="50998">
                <a:srgbClr val="F2F2F2">
                  <a:alpha val="100000"/>
                </a:srgbClr>
              </a:gs>
              <a:gs pos="100000">
                <a:srgbClr val="BFBFBF">
                  <a:alpha val="100000"/>
                </a:srgbClr>
              </a:gs>
            </a:gsLst>
            <a:lin ang="2700000" scaled="1"/>
            <a:tileRect/>
          </a:gradFill>
          <a:ln w="9525">
            <a:noFill/>
          </a:ln>
        </p:spPr>
        <p:txBody>
          <a:bodyPr anchor="ctr" anchorCtr="0"/>
          <a:p>
            <a:pPr algn="ctr"/>
            <a:endParaRPr sz="10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36" name="矩形 106"/>
          <p:cNvSpPr/>
          <p:nvPr/>
        </p:nvSpPr>
        <p:spPr>
          <a:xfrm>
            <a:off x="4817313" y="3763963"/>
            <a:ext cx="1723518" cy="397787"/>
          </a:xfrm>
          <a:prstGeom prst="rect">
            <a:avLst/>
          </a:prstGeom>
          <a:noFill/>
          <a:ln w="9525">
            <a:noFill/>
          </a:ln>
        </p:spPr>
        <p:txBody>
          <a:bodyPr wrap="none" lIns="91425" tIns="45713" rIns="91425" bIns="45713">
            <a:spAutoFit/>
          </a:bodyPr>
          <a:p>
            <a:pPr>
              <a:lnSpc>
                <a:spcPct val="150000"/>
              </a:lnSpc>
            </a:pPr>
            <a:r>
              <a:rPr lang="zh-CN" altLang="en-US" sz="1500" b="1" dirty="0">
                <a:solidFill>
                  <a:srgbClr val="000000"/>
                </a:solidFill>
                <a:latin typeface="微软雅黑" panose="020B0503020204020204" charset="-122"/>
                <a:ea typeface="微软雅黑" panose="020B0503020204020204" charset="-122"/>
                <a:sym typeface="微软雅黑" panose="020B0503020204020204" charset="-122"/>
              </a:rPr>
              <a:t>机构网点销售能力</a:t>
            </a:r>
            <a:endParaRPr lang="zh-CN" altLang="en-US" sz="1500" b="1" dirty="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37" name="KSO_Shape"/>
          <p:cNvSpPr/>
          <p:nvPr/>
        </p:nvSpPr>
        <p:spPr>
          <a:xfrm>
            <a:off x="4703013" y="2889250"/>
            <a:ext cx="530225" cy="492125"/>
          </a:xfrm>
          <a:custGeom>
            <a:avLst/>
            <a:gdLst>
              <a:gd name="txL" fmla="*/ 0 w 2390775"/>
              <a:gd name="txT" fmla="*/ 0 h 2365376"/>
              <a:gd name="txR" fmla="*/ 2390775 w 2390775"/>
              <a:gd name="txB" fmla="*/ 2365376 h 2365376"/>
            </a:gdLst>
            <a:ahLst/>
            <a:cxnLst>
              <a:cxn ang="0">
                <a:pos x="615878" y="1467970"/>
              </a:cxn>
              <a:cxn ang="0">
                <a:pos x="587250" y="1401697"/>
              </a:cxn>
              <a:cxn ang="0">
                <a:pos x="1282649" y="1393474"/>
              </a:cxn>
              <a:cxn ang="0">
                <a:pos x="1180915" y="1446870"/>
              </a:cxn>
              <a:cxn ang="0">
                <a:pos x="1210073" y="1382167"/>
              </a:cxn>
              <a:cxn ang="0">
                <a:pos x="653657" y="1314699"/>
              </a:cxn>
              <a:cxn ang="0">
                <a:pos x="646041" y="1180275"/>
              </a:cxn>
              <a:cxn ang="0">
                <a:pos x="589870" y="1105327"/>
              </a:cxn>
              <a:cxn ang="0">
                <a:pos x="599516" y="1141280"/>
              </a:cxn>
              <a:cxn ang="0">
                <a:pos x="579914" y="1158779"/>
              </a:cxn>
              <a:cxn ang="0">
                <a:pos x="541333" y="1105965"/>
              </a:cxn>
              <a:cxn ang="0">
                <a:pos x="1137260" y="1009231"/>
              </a:cxn>
              <a:cxn ang="0">
                <a:pos x="1143562" y="1026145"/>
              </a:cxn>
              <a:cxn ang="0">
                <a:pos x="1096615" y="1069549"/>
              </a:cxn>
              <a:cxn ang="0">
                <a:pos x="1102602" y="1001572"/>
              </a:cxn>
              <a:cxn ang="0">
                <a:pos x="972739" y="835988"/>
              </a:cxn>
              <a:cxn ang="0">
                <a:pos x="989500" y="1138672"/>
              </a:cxn>
              <a:cxn ang="0">
                <a:pos x="639427" y="1423644"/>
              </a:cxn>
              <a:cxn ang="0">
                <a:pos x="599898" y="1003302"/>
              </a:cxn>
              <a:cxn ang="0">
                <a:pos x="529694" y="1090596"/>
              </a:cxn>
              <a:cxn ang="0">
                <a:pos x="602428" y="868249"/>
              </a:cxn>
              <a:cxn ang="0">
                <a:pos x="861740" y="924231"/>
              </a:cxn>
              <a:cxn ang="0">
                <a:pos x="755609" y="542052"/>
              </a:cxn>
              <a:cxn ang="0">
                <a:pos x="929665" y="525915"/>
              </a:cxn>
              <a:cxn ang="0">
                <a:pos x="909019" y="571798"/>
              </a:cxn>
              <a:cxn ang="0">
                <a:pos x="936652" y="586353"/>
              </a:cxn>
              <a:cxn ang="0">
                <a:pos x="928394" y="688879"/>
              </a:cxn>
              <a:cxn ang="0">
                <a:pos x="840414" y="772101"/>
              </a:cxn>
              <a:cxn ang="0">
                <a:pos x="742269" y="675588"/>
              </a:cxn>
              <a:cxn ang="0">
                <a:pos x="738139" y="608504"/>
              </a:cxn>
              <a:cxn ang="0">
                <a:pos x="761643" y="510093"/>
              </a:cxn>
              <a:cxn ang="0">
                <a:pos x="617010" y="449064"/>
              </a:cxn>
              <a:cxn ang="0">
                <a:pos x="350272" y="638327"/>
              </a:cxn>
              <a:cxn ang="0">
                <a:pos x="215163" y="939947"/>
              </a:cxn>
              <a:cxn ang="0">
                <a:pos x="256613" y="1277331"/>
              </a:cxn>
              <a:cxn ang="0">
                <a:pos x="458486" y="1534008"/>
              </a:cxn>
              <a:cxn ang="0">
                <a:pos x="767308" y="1655225"/>
              </a:cxn>
              <a:cxn ang="0">
                <a:pos x="1101127" y="1596674"/>
              </a:cxn>
              <a:cxn ang="0">
                <a:pos x="1347614" y="1383040"/>
              </a:cxn>
              <a:cxn ang="0">
                <a:pos x="1453614" y="1066861"/>
              </a:cxn>
              <a:cxn ang="0">
                <a:pos x="1378939" y="738024"/>
              </a:cxn>
              <a:cxn ang="0">
                <a:pos x="1153652" y="501602"/>
              </a:cxn>
              <a:cxn ang="0">
                <a:pos x="831224" y="411085"/>
              </a:cxn>
              <a:cxn ang="0">
                <a:pos x="989432" y="315187"/>
              </a:cxn>
              <a:cxn ang="0">
                <a:pos x="1471649" y="671876"/>
              </a:cxn>
              <a:cxn ang="0">
                <a:pos x="1554866" y="1171938"/>
              </a:cxn>
              <a:cxn ang="0">
                <a:pos x="1239716" y="1647313"/>
              </a:cxn>
              <a:cxn ang="0">
                <a:pos x="646121" y="1748275"/>
              </a:cxn>
              <a:cxn ang="0">
                <a:pos x="110112" y="1186813"/>
              </a:cxn>
              <a:cxn ang="0">
                <a:pos x="251551" y="580725"/>
              </a:cxn>
              <a:cxn ang="0">
                <a:pos x="1549044" y="160116"/>
              </a:cxn>
              <a:cxn ang="0">
                <a:pos x="1461002" y="284475"/>
              </a:cxn>
              <a:cxn ang="0">
                <a:pos x="1550307" y="426554"/>
              </a:cxn>
              <a:cxn ang="0">
                <a:pos x="1719764" y="380038"/>
              </a:cxn>
              <a:cxn ang="0">
                <a:pos x="1735543" y="232579"/>
              </a:cxn>
              <a:cxn ang="0">
                <a:pos x="1705909" y="94508"/>
              </a:cxn>
              <a:cxn ang="0">
                <a:pos x="1774050" y="148403"/>
              </a:cxn>
              <a:cxn ang="0">
                <a:pos x="1781614" y="428769"/>
              </a:cxn>
              <a:cxn ang="0">
                <a:pos x="1600166" y="516104"/>
              </a:cxn>
              <a:cxn ang="0">
                <a:pos x="1452167" y="455349"/>
              </a:cxn>
              <a:cxn ang="0">
                <a:pos x="1310478" y="259477"/>
              </a:cxn>
              <a:cxn ang="0">
                <a:pos x="1562614" y="74046"/>
              </a:cxn>
            </a:cxnLst>
            <a:rect l="txL" t="txT" r="txR" b="txB"/>
            <a:pathLst>
              <a:path w="2390775" h="2365376">
                <a:moveTo>
                  <a:pt x="761351" y="1739900"/>
                </a:moveTo>
                <a:lnTo>
                  <a:pt x="791690" y="1805294"/>
                </a:lnTo>
                <a:lnTo>
                  <a:pt x="794883" y="1808051"/>
                </a:lnTo>
                <a:lnTo>
                  <a:pt x="797278" y="1811991"/>
                </a:lnTo>
                <a:lnTo>
                  <a:pt x="800871" y="1817112"/>
                </a:lnTo>
                <a:lnTo>
                  <a:pt x="803266" y="1822233"/>
                </a:lnTo>
                <a:lnTo>
                  <a:pt x="804065" y="1825384"/>
                </a:lnTo>
                <a:lnTo>
                  <a:pt x="804863" y="1828536"/>
                </a:lnTo>
                <a:lnTo>
                  <a:pt x="804863" y="1831687"/>
                </a:lnTo>
                <a:lnTo>
                  <a:pt x="804863" y="1834839"/>
                </a:lnTo>
                <a:lnTo>
                  <a:pt x="804065" y="1837990"/>
                </a:lnTo>
                <a:lnTo>
                  <a:pt x="802867" y="1841142"/>
                </a:lnTo>
                <a:lnTo>
                  <a:pt x="801670" y="1842718"/>
                </a:lnTo>
                <a:lnTo>
                  <a:pt x="799674" y="1844687"/>
                </a:lnTo>
                <a:lnTo>
                  <a:pt x="797278" y="1845475"/>
                </a:lnTo>
                <a:lnTo>
                  <a:pt x="794484" y="1845869"/>
                </a:lnTo>
                <a:lnTo>
                  <a:pt x="790891" y="1846263"/>
                </a:lnTo>
                <a:lnTo>
                  <a:pt x="787698" y="1845869"/>
                </a:lnTo>
                <a:lnTo>
                  <a:pt x="784105" y="1845475"/>
                </a:lnTo>
                <a:lnTo>
                  <a:pt x="780512" y="1844293"/>
                </a:lnTo>
                <a:lnTo>
                  <a:pt x="776520" y="1842718"/>
                </a:lnTo>
                <a:lnTo>
                  <a:pt x="772927" y="1841142"/>
                </a:lnTo>
                <a:lnTo>
                  <a:pt x="768935" y="1839172"/>
                </a:lnTo>
                <a:lnTo>
                  <a:pt x="765343" y="1836809"/>
                </a:lnTo>
                <a:lnTo>
                  <a:pt x="761750" y="1834051"/>
                </a:lnTo>
                <a:lnTo>
                  <a:pt x="758955" y="1831294"/>
                </a:lnTo>
                <a:lnTo>
                  <a:pt x="756161" y="1827748"/>
                </a:lnTo>
                <a:lnTo>
                  <a:pt x="754165" y="1824597"/>
                </a:lnTo>
                <a:lnTo>
                  <a:pt x="748975" y="1815536"/>
                </a:lnTo>
                <a:lnTo>
                  <a:pt x="745782" y="1808839"/>
                </a:lnTo>
                <a:lnTo>
                  <a:pt x="743387" y="1803718"/>
                </a:lnTo>
                <a:lnTo>
                  <a:pt x="742588" y="1799385"/>
                </a:lnTo>
                <a:lnTo>
                  <a:pt x="742588" y="1795051"/>
                </a:lnTo>
                <a:lnTo>
                  <a:pt x="743387" y="1790718"/>
                </a:lnTo>
                <a:lnTo>
                  <a:pt x="746181" y="1778112"/>
                </a:lnTo>
                <a:lnTo>
                  <a:pt x="746979" y="1774173"/>
                </a:lnTo>
                <a:lnTo>
                  <a:pt x="746979" y="1772203"/>
                </a:lnTo>
                <a:lnTo>
                  <a:pt x="746181" y="1771021"/>
                </a:lnTo>
                <a:lnTo>
                  <a:pt x="745383" y="1770627"/>
                </a:lnTo>
                <a:lnTo>
                  <a:pt x="742987" y="1770627"/>
                </a:lnTo>
                <a:lnTo>
                  <a:pt x="742189" y="1770233"/>
                </a:lnTo>
                <a:lnTo>
                  <a:pt x="741790" y="1769839"/>
                </a:lnTo>
                <a:lnTo>
                  <a:pt x="738596" y="1761961"/>
                </a:lnTo>
                <a:lnTo>
                  <a:pt x="736999" y="1758021"/>
                </a:lnTo>
                <a:lnTo>
                  <a:pt x="736600" y="1756052"/>
                </a:lnTo>
                <a:lnTo>
                  <a:pt x="736600" y="1754476"/>
                </a:lnTo>
                <a:lnTo>
                  <a:pt x="742189" y="1750536"/>
                </a:lnTo>
                <a:lnTo>
                  <a:pt x="747379" y="1747385"/>
                </a:lnTo>
                <a:lnTo>
                  <a:pt x="750971" y="1745021"/>
                </a:lnTo>
                <a:lnTo>
                  <a:pt x="754165" y="1743839"/>
                </a:lnTo>
                <a:lnTo>
                  <a:pt x="758556" y="1741870"/>
                </a:lnTo>
                <a:lnTo>
                  <a:pt x="759754" y="1741870"/>
                </a:lnTo>
                <a:lnTo>
                  <a:pt x="761351" y="1739900"/>
                </a:lnTo>
                <a:close/>
                <a:moveTo>
                  <a:pt x="1554438" y="1730375"/>
                </a:moveTo>
                <a:lnTo>
                  <a:pt x="1565575" y="1730375"/>
                </a:lnTo>
                <a:lnTo>
                  <a:pt x="1575916" y="1730375"/>
                </a:lnTo>
                <a:lnTo>
                  <a:pt x="1586258" y="1731163"/>
                </a:lnTo>
                <a:lnTo>
                  <a:pt x="1591031" y="1731951"/>
                </a:lnTo>
                <a:lnTo>
                  <a:pt x="1595008" y="1733133"/>
                </a:lnTo>
                <a:lnTo>
                  <a:pt x="1598986" y="1734314"/>
                </a:lnTo>
                <a:lnTo>
                  <a:pt x="1602168" y="1735890"/>
                </a:lnTo>
                <a:lnTo>
                  <a:pt x="1605350" y="1737860"/>
                </a:lnTo>
                <a:lnTo>
                  <a:pt x="1607339" y="1739830"/>
                </a:lnTo>
                <a:lnTo>
                  <a:pt x="1608929" y="1741799"/>
                </a:lnTo>
                <a:lnTo>
                  <a:pt x="1609725" y="1744951"/>
                </a:lnTo>
                <a:lnTo>
                  <a:pt x="1609725" y="1747708"/>
                </a:lnTo>
                <a:lnTo>
                  <a:pt x="1608929" y="1751648"/>
                </a:lnTo>
                <a:lnTo>
                  <a:pt x="1607339" y="1755193"/>
                </a:lnTo>
                <a:lnTo>
                  <a:pt x="1604554" y="1759920"/>
                </a:lnTo>
                <a:lnTo>
                  <a:pt x="1600577" y="1764648"/>
                </a:lnTo>
                <a:lnTo>
                  <a:pt x="1595804" y="1769769"/>
                </a:lnTo>
                <a:lnTo>
                  <a:pt x="1589042" y="1776072"/>
                </a:lnTo>
                <a:lnTo>
                  <a:pt x="1582678" y="1781193"/>
                </a:lnTo>
                <a:lnTo>
                  <a:pt x="1576314" y="1786314"/>
                </a:lnTo>
                <a:lnTo>
                  <a:pt x="1570348" y="1790647"/>
                </a:lnTo>
                <a:lnTo>
                  <a:pt x="1563586" y="1794193"/>
                </a:lnTo>
                <a:lnTo>
                  <a:pt x="1557222" y="1797738"/>
                </a:lnTo>
                <a:lnTo>
                  <a:pt x="1550461" y="1800496"/>
                </a:lnTo>
                <a:lnTo>
                  <a:pt x="1544097" y="1802466"/>
                </a:lnTo>
                <a:lnTo>
                  <a:pt x="1537733" y="1804829"/>
                </a:lnTo>
                <a:lnTo>
                  <a:pt x="1530971" y="1806799"/>
                </a:lnTo>
                <a:lnTo>
                  <a:pt x="1524607" y="1807981"/>
                </a:lnTo>
                <a:lnTo>
                  <a:pt x="1518243" y="1809163"/>
                </a:lnTo>
                <a:lnTo>
                  <a:pt x="1505117" y="1811132"/>
                </a:lnTo>
                <a:lnTo>
                  <a:pt x="1491992" y="1812314"/>
                </a:lnTo>
                <a:lnTo>
                  <a:pt x="1486026" y="1813102"/>
                </a:lnTo>
                <a:lnTo>
                  <a:pt x="1483241" y="1813890"/>
                </a:lnTo>
                <a:lnTo>
                  <a:pt x="1482048" y="1814678"/>
                </a:lnTo>
                <a:lnTo>
                  <a:pt x="1481253" y="1815072"/>
                </a:lnTo>
                <a:lnTo>
                  <a:pt x="1480855" y="1815859"/>
                </a:lnTo>
                <a:lnTo>
                  <a:pt x="1480855" y="1817041"/>
                </a:lnTo>
                <a:lnTo>
                  <a:pt x="1481253" y="1818617"/>
                </a:lnTo>
                <a:lnTo>
                  <a:pt x="1482048" y="1819799"/>
                </a:lnTo>
                <a:lnTo>
                  <a:pt x="1482048" y="1821375"/>
                </a:lnTo>
                <a:lnTo>
                  <a:pt x="1482048" y="1821769"/>
                </a:lnTo>
                <a:lnTo>
                  <a:pt x="1480855" y="1822556"/>
                </a:lnTo>
                <a:lnTo>
                  <a:pt x="1471309" y="1830829"/>
                </a:lnTo>
                <a:lnTo>
                  <a:pt x="1465343" y="1834375"/>
                </a:lnTo>
                <a:lnTo>
                  <a:pt x="1463354" y="1835556"/>
                </a:lnTo>
                <a:lnTo>
                  <a:pt x="1461365" y="1836738"/>
                </a:lnTo>
                <a:lnTo>
                  <a:pt x="1452615" y="1830041"/>
                </a:lnTo>
                <a:lnTo>
                  <a:pt x="1445853" y="1824132"/>
                </a:lnTo>
                <a:lnTo>
                  <a:pt x="1440285" y="1819405"/>
                </a:lnTo>
                <a:lnTo>
                  <a:pt x="1437103" y="1815072"/>
                </a:lnTo>
                <a:lnTo>
                  <a:pt x="1434716" y="1812314"/>
                </a:lnTo>
                <a:lnTo>
                  <a:pt x="1433125" y="1810344"/>
                </a:lnTo>
                <a:lnTo>
                  <a:pt x="1432330" y="1808375"/>
                </a:lnTo>
                <a:lnTo>
                  <a:pt x="1428750" y="1806799"/>
                </a:lnTo>
                <a:lnTo>
                  <a:pt x="1512675" y="1734314"/>
                </a:lnTo>
                <a:lnTo>
                  <a:pt x="1518641" y="1733527"/>
                </a:lnTo>
                <a:lnTo>
                  <a:pt x="1533755" y="1731951"/>
                </a:lnTo>
                <a:lnTo>
                  <a:pt x="1543699" y="1731163"/>
                </a:lnTo>
                <a:lnTo>
                  <a:pt x="1554438" y="1730375"/>
                </a:lnTo>
                <a:close/>
                <a:moveTo>
                  <a:pt x="588962" y="1535113"/>
                </a:moveTo>
                <a:lnTo>
                  <a:pt x="694496" y="1535113"/>
                </a:lnTo>
                <a:lnTo>
                  <a:pt x="694496" y="1557872"/>
                </a:lnTo>
                <a:lnTo>
                  <a:pt x="694894" y="1558271"/>
                </a:lnTo>
                <a:lnTo>
                  <a:pt x="696885" y="1560268"/>
                </a:lnTo>
                <a:lnTo>
                  <a:pt x="698478" y="1560667"/>
                </a:lnTo>
                <a:lnTo>
                  <a:pt x="700469" y="1561466"/>
                </a:lnTo>
                <a:lnTo>
                  <a:pt x="704053" y="1561865"/>
                </a:lnTo>
                <a:lnTo>
                  <a:pt x="707239" y="1561865"/>
                </a:lnTo>
                <a:lnTo>
                  <a:pt x="711222" y="1561865"/>
                </a:lnTo>
                <a:lnTo>
                  <a:pt x="714407" y="1561466"/>
                </a:lnTo>
                <a:lnTo>
                  <a:pt x="716797" y="1560667"/>
                </a:lnTo>
                <a:lnTo>
                  <a:pt x="718390" y="1560268"/>
                </a:lnTo>
                <a:lnTo>
                  <a:pt x="720381" y="1558271"/>
                </a:lnTo>
                <a:lnTo>
                  <a:pt x="720779" y="1557872"/>
                </a:lnTo>
                <a:lnTo>
                  <a:pt x="720779" y="1535113"/>
                </a:lnTo>
                <a:lnTo>
                  <a:pt x="820737" y="1535113"/>
                </a:lnTo>
                <a:lnTo>
                  <a:pt x="820737" y="1644117"/>
                </a:lnTo>
                <a:lnTo>
                  <a:pt x="820339" y="1648908"/>
                </a:lnTo>
                <a:lnTo>
                  <a:pt x="819144" y="1652901"/>
                </a:lnTo>
                <a:lnTo>
                  <a:pt x="816755" y="1656894"/>
                </a:lnTo>
                <a:lnTo>
                  <a:pt x="814365" y="1660088"/>
                </a:lnTo>
                <a:lnTo>
                  <a:pt x="810781" y="1663283"/>
                </a:lnTo>
                <a:lnTo>
                  <a:pt x="806799" y="1665279"/>
                </a:lnTo>
                <a:lnTo>
                  <a:pt x="802418" y="1666477"/>
                </a:lnTo>
                <a:lnTo>
                  <a:pt x="797639" y="1666876"/>
                </a:lnTo>
                <a:lnTo>
                  <a:pt x="612060" y="1666876"/>
                </a:lnTo>
                <a:lnTo>
                  <a:pt x="607281" y="1666477"/>
                </a:lnTo>
                <a:lnTo>
                  <a:pt x="602901" y="1665279"/>
                </a:lnTo>
                <a:lnTo>
                  <a:pt x="598918" y="1663283"/>
                </a:lnTo>
                <a:lnTo>
                  <a:pt x="595732" y="1660088"/>
                </a:lnTo>
                <a:lnTo>
                  <a:pt x="592546" y="1656894"/>
                </a:lnTo>
                <a:lnTo>
                  <a:pt x="590555" y="1652901"/>
                </a:lnTo>
                <a:lnTo>
                  <a:pt x="589360" y="1648908"/>
                </a:lnTo>
                <a:lnTo>
                  <a:pt x="588962" y="1644117"/>
                </a:lnTo>
                <a:lnTo>
                  <a:pt x="588962" y="1535113"/>
                </a:lnTo>
                <a:close/>
                <a:moveTo>
                  <a:pt x="612060" y="1476375"/>
                </a:moveTo>
                <a:lnTo>
                  <a:pt x="797639" y="1476375"/>
                </a:lnTo>
                <a:lnTo>
                  <a:pt x="802418" y="1476769"/>
                </a:lnTo>
                <a:lnTo>
                  <a:pt x="806799" y="1477950"/>
                </a:lnTo>
                <a:lnTo>
                  <a:pt x="810781" y="1480312"/>
                </a:lnTo>
                <a:lnTo>
                  <a:pt x="814365" y="1483068"/>
                </a:lnTo>
                <a:lnTo>
                  <a:pt x="816755" y="1486611"/>
                </a:lnTo>
                <a:lnTo>
                  <a:pt x="819144" y="1490155"/>
                </a:lnTo>
                <a:lnTo>
                  <a:pt x="820339" y="1494485"/>
                </a:lnTo>
                <a:lnTo>
                  <a:pt x="820737" y="1498816"/>
                </a:lnTo>
                <a:lnTo>
                  <a:pt x="820737" y="1525588"/>
                </a:lnTo>
                <a:lnTo>
                  <a:pt x="588962" y="1525588"/>
                </a:lnTo>
                <a:lnTo>
                  <a:pt x="588962" y="1498816"/>
                </a:lnTo>
                <a:lnTo>
                  <a:pt x="589360" y="1494485"/>
                </a:lnTo>
                <a:lnTo>
                  <a:pt x="590555" y="1490155"/>
                </a:lnTo>
                <a:lnTo>
                  <a:pt x="592546" y="1486611"/>
                </a:lnTo>
                <a:lnTo>
                  <a:pt x="595732" y="1483068"/>
                </a:lnTo>
                <a:lnTo>
                  <a:pt x="598918" y="1480312"/>
                </a:lnTo>
                <a:lnTo>
                  <a:pt x="602901" y="1477950"/>
                </a:lnTo>
                <a:lnTo>
                  <a:pt x="607281" y="1476769"/>
                </a:lnTo>
                <a:lnTo>
                  <a:pt x="612060" y="1476375"/>
                </a:lnTo>
                <a:close/>
                <a:moveTo>
                  <a:pt x="725449" y="1381125"/>
                </a:moveTo>
                <a:lnTo>
                  <a:pt x="730525" y="1381524"/>
                </a:lnTo>
                <a:lnTo>
                  <a:pt x="732087" y="1381524"/>
                </a:lnTo>
                <a:lnTo>
                  <a:pt x="734430" y="1382322"/>
                </a:lnTo>
                <a:lnTo>
                  <a:pt x="737554" y="1384317"/>
                </a:lnTo>
                <a:lnTo>
                  <a:pt x="740287" y="1386312"/>
                </a:lnTo>
                <a:lnTo>
                  <a:pt x="743411" y="1389505"/>
                </a:lnTo>
                <a:lnTo>
                  <a:pt x="746535" y="1393096"/>
                </a:lnTo>
                <a:lnTo>
                  <a:pt x="749659" y="1397486"/>
                </a:lnTo>
                <a:lnTo>
                  <a:pt x="755906" y="1407063"/>
                </a:lnTo>
                <a:lnTo>
                  <a:pt x="761373" y="1417837"/>
                </a:lnTo>
                <a:lnTo>
                  <a:pt x="766059" y="1427813"/>
                </a:lnTo>
                <a:lnTo>
                  <a:pt x="769182" y="1437390"/>
                </a:lnTo>
                <a:lnTo>
                  <a:pt x="770744" y="1441780"/>
                </a:lnTo>
                <a:lnTo>
                  <a:pt x="771525" y="1445770"/>
                </a:lnTo>
                <a:lnTo>
                  <a:pt x="771525" y="1448164"/>
                </a:lnTo>
                <a:lnTo>
                  <a:pt x="771525" y="1450159"/>
                </a:lnTo>
                <a:lnTo>
                  <a:pt x="770744" y="1451357"/>
                </a:lnTo>
                <a:lnTo>
                  <a:pt x="769182" y="1452155"/>
                </a:lnTo>
                <a:lnTo>
                  <a:pt x="768011" y="1452155"/>
                </a:lnTo>
                <a:lnTo>
                  <a:pt x="766449" y="1450958"/>
                </a:lnTo>
                <a:lnTo>
                  <a:pt x="764887" y="1449760"/>
                </a:lnTo>
                <a:lnTo>
                  <a:pt x="762544" y="1448563"/>
                </a:lnTo>
                <a:lnTo>
                  <a:pt x="759030" y="1444174"/>
                </a:lnTo>
                <a:lnTo>
                  <a:pt x="755516" y="1439784"/>
                </a:lnTo>
                <a:lnTo>
                  <a:pt x="753173" y="1434996"/>
                </a:lnTo>
                <a:lnTo>
                  <a:pt x="752392" y="1433400"/>
                </a:lnTo>
                <a:lnTo>
                  <a:pt x="752392" y="1431404"/>
                </a:lnTo>
                <a:lnTo>
                  <a:pt x="752001" y="1428611"/>
                </a:lnTo>
                <a:lnTo>
                  <a:pt x="750830" y="1426616"/>
                </a:lnTo>
                <a:lnTo>
                  <a:pt x="748878" y="1425419"/>
                </a:lnTo>
                <a:lnTo>
                  <a:pt x="746925" y="1425020"/>
                </a:lnTo>
                <a:lnTo>
                  <a:pt x="746144" y="1425419"/>
                </a:lnTo>
                <a:lnTo>
                  <a:pt x="745363" y="1425818"/>
                </a:lnTo>
                <a:lnTo>
                  <a:pt x="744582" y="1426616"/>
                </a:lnTo>
                <a:lnTo>
                  <a:pt x="743411" y="1427414"/>
                </a:lnTo>
                <a:lnTo>
                  <a:pt x="742630" y="1428611"/>
                </a:lnTo>
                <a:lnTo>
                  <a:pt x="742240" y="1430207"/>
                </a:lnTo>
                <a:lnTo>
                  <a:pt x="741849" y="1432602"/>
                </a:lnTo>
                <a:lnTo>
                  <a:pt x="741849" y="1434597"/>
                </a:lnTo>
                <a:lnTo>
                  <a:pt x="741459" y="1439385"/>
                </a:lnTo>
                <a:lnTo>
                  <a:pt x="740678" y="1443376"/>
                </a:lnTo>
                <a:lnTo>
                  <a:pt x="739897" y="1445371"/>
                </a:lnTo>
                <a:lnTo>
                  <a:pt x="739116" y="1446967"/>
                </a:lnTo>
                <a:lnTo>
                  <a:pt x="737944" y="1448164"/>
                </a:lnTo>
                <a:lnTo>
                  <a:pt x="735992" y="1449361"/>
                </a:lnTo>
                <a:lnTo>
                  <a:pt x="734430" y="1450558"/>
                </a:lnTo>
                <a:lnTo>
                  <a:pt x="732868" y="1452155"/>
                </a:lnTo>
                <a:lnTo>
                  <a:pt x="730525" y="1452953"/>
                </a:lnTo>
                <a:lnTo>
                  <a:pt x="727792" y="1453352"/>
                </a:lnTo>
                <a:lnTo>
                  <a:pt x="721935" y="1454150"/>
                </a:lnTo>
                <a:lnTo>
                  <a:pt x="715297" y="1454150"/>
                </a:lnTo>
                <a:lnTo>
                  <a:pt x="712173" y="1453751"/>
                </a:lnTo>
                <a:lnTo>
                  <a:pt x="709049" y="1452953"/>
                </a:lnTo>
                <a:lnTo>
                  <a:pt x="706706" y="1452155"/>
                </a:lnTo>
                <a:lnTo>
                  <a:pt x="703973" y="1450558"/>
                </a:lnTo>
                <a:lnTo>
                  <a:pt x="701240" y="1448962"/>
                </a:lnTo>
                <a:lnTo>
                  <a:pt x="699287" y="1447366"/>
                </a:lnTo>
                <a:lnTo>
                  <a:pt x="694992" y="1442977"/>
                </a:lnTo>
                <a:lnTo>
                  <a:pt x="691478" y="1438188"/>
                </a:lnTo>
                <a:lnTo>
                  <a:pt x="687963" y="1432602"/>
                </a:lnTo>
                <a:lnTo>
                  <a:pt x="685230" y="1427015"/>
                </a:lnTo>
                <a:lnTo>
                  <a:pt x="682497" y="1421029"/>
                </a:lnTo>
                <a:lnTo>
                  <a:pt x="680544" y="1415044"/>
                </a:lnTo>
                <a:lnTo>
                  <a:pt x="678982" y="1409058"/>
                </a:lnTo>
                <a:lnTo>
                  <a:pt x="676249" y="1399082"/>
                </a:lnTo>
                <a:lnTo>
                  <a:pt x="675078" y="1392298"/>
                </a:lnTo>
                <a:lnTo>
                  <a:pt x="674687" y="1389106"/>
                </a:lnTo>
                <a:lnTo>
                  <a:pt x="674687" y="1388707"/>
                </a:lnTo>
                <a:lnTo>
                  <a:pt x="675078" y="1388308"/>
                </a:lnTo>
                <a:lnTo>
                  <a:pt x="676249" y="1387909"/>
                </a:lnTo>
                <a:lnTo>
                  <a:pt x="679373" y="1387111"/>
                </a:lnTo>
                <a:lnTo>
                  <a:pt x="683278" y="1385913"/>
                </a:lnTo>
                <a:lnTo>
                  <a:pt x="689525" y="1384716"/>
                </a:lnTo>
                <a:lnTo>
                  <a:pt x="698897" y="1383120"/>
                </a:lnTo>
                <a:lnTo>
                  <a:pt x="715297" y="1381524"/>
                </a:lnTo>
                <a:lnTo>
                  <a:pt x="725449" y="1381125"/>
                </a:lnTo>
                <a:close/>
                <a:moveTo>
                  <a:pt x="1433588" y="1247775"/>
                </a:moveTo>
                <a:lnTo>
                  <a:pt x="1439124" y="1247775"/>
                </a:lnTo>
                <a:lnTo>
                  <a:pt x="1444264" y="1248175"/>
                </a:lnTo>
                <a:lnTo>
                  <a:pt x="1448614" y="1248976"/>
                </a:lnTo>
                <a:lnTo>
                  <a:pt x="1451382" y="1249776"/>
                </a:lnTo>
                <a:lnTo>
                  <a:pt x="1453359" y="1250977"/>
                </a:lnTo>
                <a:lnTo>
                  <a:pt x="1454150" y="1252178"/>
                </a:lnTo>
                <a:lnTo>
                  <a:pt x="1454150" y="1253779"/>
                </a:lnTo>
                <a:lnTo>
                  <a:pt x="1453359" y="1255380"/>
                </a:lnTo>
                <a:lnTo>
                  <a:pt x="1452173" y="1256981"/>
                </a:lnTo>
                <a:lnTo>
                  <a:pt x="1450196" y="1258582"/>
                </a:lnTo>
                <a:lnTo>
                  <a:pt x="1447428" y="1260183"/>
                </a:lnTo>
                <a:lnTo>
                  <a:pt x="1441892" y="1262985"/>
                </a:lnTo>
                <a:lnTo>
                  <a:pt x="1435565" y="1264986"/>
                </a:lnTo>
                <a:lnTo>
                  <a:pt x="1432402" y="1265387"/>
                </a:lnTo>
                <a:lnTo>
                  <a:pt x="1429634" y="1265787"/>
                </a:lnTo>
                <a:lnTo>
                  <a:pt x="1427261" y="1265787"/>
                </a:lnTo>
                <a:lnTo>
                  <a:pt x="1425284" y="1265387"/>
                </a:lnTo>
                <a:lnTo>
                  <a:pt x="1423703" y="1264986"/>
                </a:lnTo>
                <a:lnTo>
                  <a:pt x="1422516" y="1264586"/>
                </a:lnTo>
                <a:lnTo>
                  <a:pt x="1420539" y="1264586"/>
                </a:lnTo>
                <a:lnTo>
                  <a:pt x="1419353" y="1264986"/>
                </a:lnTo>
                <a:lnTo>
                  <a:pt x="1418562" y="1265787"/>
                </a:lnTo>
                <a:lnTo>
                  <a:pt x="1417376" y="1266588"/>
                </a:lnTo>
                <a:lnTo>
                  <a:pt x="1416980" y="1267388"/>
                </a:lnTo>
                <a:lnTo>
                  <a:pt x="1416585" y="1268589"/>
                </a:lnTo>
                <a:lnTo>
                  <a:pt x="1416190" y="1269790"/>
                </a:lnTo>
                <a:lnTo>
                  <a:pt x="1416585" y="1270990"/>
                </a:lnTo>
                <a:lnTo>
                  <a:pt x="1416585" y="1272191"/>
                </a:lnTo>
                <a:lnTo>
                  <a:pt x="1417376" y="1273392"/>
                </a:lnTo>
                <a:lnTo>
                  <a:pt x="1418562" y="1274993"/>
                </a:lnTo>
                <a:lnTo>
                  <a:pt x="1419748" y="1276194"/>
                </a:lnTo>
                <a:lnTo>
                  <a:pt x="1422121" y="1277395"/>
                </a:lnTo>
                <a:lnTo>
                  <a:pt x="1424098" y="1278596"/>
                </a:lnTo>
                <a:lnTo>
                  <a:pt x="1428843" y="1280597"/>
                </a:lnTo>
                <a:lnTo>
                  <a:pt x="1430820" y="1282198"/>
                </a:lnTo>
                <a:lnTo>
                  <a:pt x="1432402" y="1283799"/>
                </a:lnTo>
                <a:lnTo>
                  <a:pt x="1433588" y="1285000"/>
                </a:lnTo>
                <a:lnTo>
                  <a:pt x="1435170" y="1287001"/>
                </a:lnTo>
                <a:lnTo>
                  <a:pt x="1436356" y="1289003"/>
                </a:lnTo>
                <a:lnTo>
                  <a:pt x="1436751" y="1291404"/>
                </a:lnTo>
                <a:lnTo>
                  <a:pt x="1437542" y="1293406"/>
                </a:lnTo>
                <a:lnTo>
                  <a:pt x="1437542" y="1296608"/>
                </a:lnTo>
                <a:lnTo>
                  <a:pt x="1437542" y="1299009"/>
                </a:lnTo>
                <a:lnTo>
                  <a:pt x="1437147" y="1302612"/>
                </a:lnTo>
                <a:lnTo>
                  <a:pt x="1436356" y="1305414"/>
                </a:lnTo>
                <a:lnTo>
                  <a:pt x="1435170" y="1309416"/>
                </a:lnTo>
                <a:lnTo>
                  <a:pt x="1431611" y="1317422"/>
                </a:lnTo>
                <a:lnTo>
                  <a:pt x="1430029" y="1320624"/>
                </a:lnTo>
                <a:lnTo>
                  <a:pt x="1428052" y="1323826"/>
                </a:lnTo>
                <a:lnTo>
                  <a:pt x="1425680" y="1326628"/>
                </a:lnTo>
                <a:lnTo>
                  <a:pt x="1423307" y="1328629"/>
                </a:lnTo>
                <a:lnTo>
                  <a:pt x="1420539" y="1331431"/>
                </a:lnTo>
                <a:lnTo>
                  <a:pt x="1417771" y="1333032"/>
                </a:lnTo>
                <a:lnTo>
                  <a:pt x="1414608" y="1334633"/>
                </a:lnTo>
                <a:lnTo>
                  <a:pt x="1411445" y="1336635"/>
                </a:lnTo>
                <a:lnTo>
                  <a:pt x="1404722" y="1338636"/>
                </a:lnTo>
                <a:lnTo>
                  <a:pt x="1397605" y="1340237"/>
                </a:lnTo>
                <a:lnTo>
                  <a:pt x="1390487" y="1341038"/>
                </a:lnTo>
                <a:lnTo>
                  <a:pt x="1383370" y="1341438"/>
                </a:lnTo>
                <a:lnTo>
                  <a:pt x="1376252" y="1341438"/>
                </a:lnTo>
                <a:lnTo>
                  <a:pt x="1369530" y="1341038"/>
                </a:lnTo>
                <a:lnTo>
                  <a:pt x="1358063" y="1339437"/>
                </a:lnTo>
                <a:lnTo>
                  <a:pt x="1350154" y="1338236"/>
                </a:lnTo>
                <a:lnTo>
                  <a:pt x="1347386" y="1337435"/>
                </a:lnTo>
                <a:lnTo>
                  <a:pt x="1347386" y="1337835"/>
                </a:lnTo>
                <a:lnTo>
                  <a:pt x="1346991" y="1337435"/>
                </a:lnTo>
                <a:lnTo>
                  <a:pt x="1346200" y="1337035"/>
                </a:lnTo>
                <a:lnTo>
                  <a:pt x="1346200" y="1334633"/>
                </a:lnTo>
                <a:lnTo>
                  <a:pt x="1346991" y="1331831"/>
                </a:lnTo>
                <a:lnTo>
                  <a:pt x="1347782" y="1326228"/>
                </a:lnTo>
                <a:lnTo>
                  <a:pt x="1349363" y="1318623"/>
                </a:lnTo>
                <a:lnTo>
                  <a:pt x="1351736" y="1307415"/>
                </a:lnTo>
                <a:lnTo>
                  <a:pt x="1355295" y="1296608"/>
                </a:lnTo>
                <a:lnTo>
                  <a:pt x="1357667" y="1287402"/>
                </a:lnTo>
                <a:lnTo>
                  <a:pt x="1361621" y="1275794"/>
                </a:lnTo>
                <a:lnTo>
                  <a:pt x="1363994" y="1270190"/>
                </a:lnTo>
                <a:lnTo>
                  <a:pt x="1364785" y="1268589"/>
                </a:lnTo>
                <a:lnTo>
                  <a:pt x="1366762" y="1265787"/>
                </a:lnTo>
                <a:lnTo>
                  <a:pt x="1369925" y="1262985"/>
                </a:lnTo>
                <a:lnTo>
                  <a:pt x="1373484" y="1260183"/>
                </a:lnTo>
                <a:lnTo>
                  <a:pt x="1378229" y="1258182"/>
                </a:lnTo>
                <a:lnTo>
                  <a:pt x="1383765" y="1256181"/>
                </a:lnTo>
                <a:lnTo>
                  <a:pt x="1389301" y="1253779"/>
                </a:lnTo>
                <a:lnTo>
                  <a:pt x="1395628" y="1252578"/>
                </a:lnTo>
                <a:lnTo>
                  <a:pt x="1401954" y="1250977"/>
                </a:lnTo>
                <a:lnTo>
                  <a:pt x="1415399" y="1248976"/>
                </a:lnTo>
                <a:lnTo>
                  <a:pt x="1428052" y="1248175"/>
                </a:lnTo>
                <a:lnTo>
                  <a:pt x="1433588" y="1247775"/>
                </a:lnTo>
                <a:close/>
                <a:moveTo>
                  <a:pt x="1155700" y="965200"/>
                </a:moveTo>
                <a:lnTo>
                  <a:pt x="1161653" y="965597"/>
                </a:lnTo>
                <a:lnTo>
                  <a:pt x="1167209" y="966787"/>
                </a:lnTo>
                <a:lnTo>
                  <a:pt x="1172766" y="968770"/>
                </a:lnTo>
                <a:lnTo>
                  <a:pt x="1177925" y="971944"/>
                </a:lnTo>
                <a:lnTo>
                  <a:pt x="1182687" y="975514"/>
                </a:lnTo>
                <a:lnTo>
                  <a:pt x="1187450" y="980274"/>
                </a:lnTo>
                <a:lnTo>
                  <a:pt x="1192213" y="985431"/>
                </a:lnTo>
                <a:lnTo>
                  <a:pt x="1196181" y="991381"/>
                </a:lnTo>
                <a:lnTo>
                  <a:pt x="1200150" y="998125"/>
                </a:lnTo>
                <a:lnTo>
                  <a:pt x="1204119" y="1005265"/>
                </a:lnTo>
                <a:lnTo>
                  <a:pt x="1207691" y="1012802"/>
                </a:lnTo>
                <a:lnTo>
                  <a:pt x="1211659" y="1021133"/>
                </a:lnTo>
                <a:lnTo>
                  <a:pt x="1214437" y="1029860"/>
                </a:lnTo>
                <a:lnTo>
                  <a:pt x="1217613" y="1038984"/>
                </a:lnTo>
                <a:lnTo>
                  <a:pt x="1220787" y="1048504"/>
                </a:lnTo>
                <a:lnTo>
                  <a:pt x="1225947" y="1068338"/>
                </a:lnTo>
                <a:lnTo>
                  <a:pt x="1230313" y="1089363"/>
                </a:lnTo>
                <a:lnTo>
                  <a:pt x="1234678" y="1111180"/>
                </a:lnTo>
                <a:lnTo>
                  <a:pt x="1237853" y="1133792"/>
                </a:lnTo>
                <a:lnTo>
                  <a:pt x="1241028" y="1155609"/>
                </a:lnTo>
                <a:lnTo>
                  <a:pt x="1243013" y="1177824"/>
                </a:lnTo>
                <a:lnTo>
                  <a:pt x="1245394" y="1198848"/>
                </a:lnTo>
                <a:lnTo>
                  <a:pt x="1246981" y="1219476"/>
                </a:lnTo>
                <a:lnTo>
                  <a:pt x="1246187" y="1186551"/>
                </a:lnTo>
                <a:lnTo>
                  <a:pt x="1342231" y="1244467"/>
                </a:lnTo>
                <a:lnTo>
                  <a:pt x="1323181" y="1340465"/>
                </a:lnTo>
                <a:lnTo>
                  <a:pt x="1248966" y="1309524"/>
                </a:lnTo>
                <a:lnTo>
                  <a:pt x="1245394" y="1284929"/>
                </a:lnTo>
                <a:lnTo>
                  <a:pt x="1239441" y="1242087"/>
                </a:lnTo>
                <a:lnTo>
                  <a:pt x="1231106" y="1373787"/>
                </a:lnTo>
                <a:lnTo>
                  <a:pt x="1230709" y="1379737"/>
                </a:lnTo>
                <a:lnTo>
                  <a:pt x="1230313" y="1386084"/>
                </a:lnTo>
                <a:lnTo>
                  <a:pt x="1230709" y="1392431"/>
                </a:lnTo>
                <a:lnTo>
                  <a:pt x="1232297" y="1399968"/>
                </a:lnTo>
                <a:lnTo>
                  <a:pt x="1234281" y="1407902"/>
                </a:lnTo>
                <a:lnTo>
                  <a:pt x="1237059" y="1417422"/>
                </a:lnTo>
                <a:lnTo>
                  <a:pt x="1241822" y="1428133"/>
                </a:lnTo>
                <a:lnTo>
                  <a:pt x="1247775" y="1440430"/>
                </a:lnTo>
                <a:lnTo>
                  <a:pt x="1231106" y="1440430"/>
                </a:lnTo>
                <a:lnTo>
                  <a:pt x="1242219" y="1446380"/>
                </a:lnTo>
                <a:lnTo>
                  <a:pt x="1256109" y="1453124"/>
                </a:lnTo>
                <a:lnTo>
                  <a:pt x="1287066" y="1467405"/>
                </a:lnTo>
                <a:lnTo>
                  <a:pt x="1313259" y="1479305"/>
                </a:lnTo>
                <a:lnTo>
                  <a:pt x="1323975" y="1483669"/>
                </a:lnTo>
                <a:lnTo>
                  <a:pt x="1501775" y="1720491"/>
                </a:lnTo>
                <a:lnTo>
                  <a:pt x="1401763" y="1798638"/>
                </a:lnTo>
                <a:lnTo>
                  <a:pt x="1210469" y="1576494"/>
                </a:lnTo>
                <a:lnTo>
                  <a:pt x="1080294" y="1561816"/>
                </a:lnTo>
                <a:lnTo>
                  <a:pt x="1080294" y="1563800"/>
                </a:lnTo>
                <a:lnTo>
                  <a:pt x="1080294" y="1567370"/>
                </a:lnTo>
                <a:lnTo>
                  <a:pt x="1079500" y="1575700"/>
                </a:lnTo>
                <a:lnTo>
                  <a:pt x="1077516" y="1587601"/>
                </a:lnTo>
                <a:lnTo>
                  <a:pt x="1074341" y="1601088"/>
                </a:lnTo>
                <a:lnTo>
                  <a:pt x="1066403" y="1633220"/>
                </a:lnTo>
                <a:lnTo>
                  <a:pt x="1056878" y="1669318"/>
                </a:lnTo>
                <a:lnTo>
                  <a:pt x="1046956" y="1703830"/>
                </a:lnTo>
                <a:lnTo>
                  <a:pt x="1038622" y="1733582"/>
                </a:lnTo>
                <a:lnTo>
                  <a:pt x="1030288" y="1762540"/>
                </a:lnTo>
                <a:lnTo>
                  <a:pt x="802481" y="1785548"/>
                </a:lnTo>
                <a:lnTo>
                  <a:pt x="770731" y="1731201"/>
                </a:lnTo>
                <a:lnTo>
                  <a:pt x="904081" y="1706210"/>
                </a:lnTo>
                <a:lnTo>
                  <a:pt x="903685" y="1489619"/>
                </a:lnTo>
                <a:lnTo>
                  <a:pt x="871935" y="1482479"/>
                </a:lnTo>
                <a:lnTo>
                  <a:pt x="869950" y="1471768"/>
                </a:lnTo>
                <a:lnTo>
                  <a:pt x="867966" y="1461851"/>
                </a:lnTo>
                <a:lnTo>
                  <a:pt x="866378" y="1453124"/>
                </a:lnTo>
                <a:lnTo>
                  <a:pt x="864791" y="1445190"/>
                </a:lnTo>
                <a:lnTo>
                  <a:pt x="863600" y="1428926"/>
                </a:lnTo>
                <a:lnTo>
                  <a:pt x="862806" y="1413455"/>
                </a:lnTo>
                <a:lnTo>
                  <a:pt x="862013" y="1373787"/>
                </a:lnTo>
                <a:lnTo>
                  <a:pt x="860822" y="1346812"/>
                </a:lnTo>
                <a:lnTo>
                  <a:pt x="858044" y="1312697"/>
                </a:lnTo>
                <a:lnTo>
                  <a:pt x="854472" y="1175444"/>
                </a:lnTo>
                <a:lnTo>
                  <a:pt x="843756" y="1181791"/>
                </a:lnTo>
                <a:lnTo>
                  <a:pt x="818753" y="1197658"/>
                </a:lnTo>
                <a:lnTo>
                  <a:pt x="802878" y="1208369"/>
                </a:lnTo>
                <a:lnTo>
                  <a:pt x="786606" y="1219476"/>
                </a:lnTo>
                <a:lnTo>
                  <a:pt x="770731" y="1230980"/>
                </a:lnTo>
                <a:lnTo>
                  <a:pt x="756841" y="1242087"/>
                </a:lnTo>
                <a:lnTo>
                  <a:pt x="754460" y="1250021"/>
                </a:lnTo>
                <a:lnTo>
                  <a:pt x="752872" y="1258351"/>
                </a:lnTo>
                <a:lnTo>
                  <a:pt x="752078" y="1266681"/>
                </a:lnTo>
                <a:lnTo>
                  <a:pt x="751285" y="1275805"/>
                </a:lnTo>
                <a:lnTo>
                  <a:pt x="751285" y="1284532"/>
                </a:lnTo>
                <a:lnTo>
                  <a:pt x="751681" y="1292863"/>
                </a:lnTo>
                <a:lnTo>
                  <a:pt x="752078" y="1301590"/>
                </a:lnTo>
                <a:lnTo>
                  <a:pt x="752872" y="1310317"/>
                </a:lnTo>
                <a:lnTo>
                  <a:pt x="754856" y="1325788"/>
                </a:lnTo>
                <a:lnTo>
                  <a:pt x="756444" y="1339275"/>
                </a:lnTo>
                <a:lnTo>
                  <a:pt x="758031" y="1350382"/>
                </a:lnTo>
                <a:lnTo>
                  <a:pt x="758031" y="1354349"/>
                </a:lnTo>
                <a:lnTo>
                  <a:pt x="756841" y="1357523"/>
                </a:lnTo>
                <a:lnTo>
                  <a:pt x="727869" y="1355539"/>
                </a:lnTo>
                <a:lnTo>
                  <a:pt x="715566" y="1354746"/>
                </a:lnTo>
                <a:lnTo>
                  <a:pt x="709613" y="1354746"/>
                </a:lnTo>
                <a:lnTo>
                  <a:pt x="704453" y="1355143"/>
                </a:lnTo>
                <a:lnTo>
                  <a:pt x="698897" y="1355539"/>
                </a:lnTo>
                <a:lnTo>
                  <a:pt x="693341" y="1356729"/>
                </a:lnTo>
                <a:lnTo>
                  <a:pt x="687785" y="1357919"/>
                </a:lnTo>
                <a:lnTo>
                  <a:pt x="682228" y="1359903"/>
                </a:lnTo>
                <a:lnTo>
                  <a:pt x="677069" y="1361886"/>
                </a:lnTo>
                <a:lnTo>
                  <a:pt x="671116" y="1364663"/>
                </a:lnTo>
                <a:lnTo>
                  <a:pt x="664766" y="1367836"/>
                </a:lnTo>
                <a:lnTo>
                  <a:pt x="658416" y="1372200"/>
                </a:lnTo>
                <a:lnTo>
                  <a:pt x="657225" y="1367043"/>
                </a:lnTo>
                <a:lnTo>
                  <a:pt x="655241" y="1361093"/>
                </a:lnTo>
                <a:lnTo>
                  <a:pt x="654050" y="1355143"/>
                </a:lnTo>
                <a:lnTo>
                  <a:pt x="653256" y="1348399"/>
                </a:lnTo>
                <a:lnTo>
                  <a:pt x="651669" y="1333325"/>
                </a:lnTo>
                <a:lnTo>
                  <a:pt x="650875" y="1316267"/>
                </a:lnTo>
                <a:lnTo>
                  <a:pt x="650875" y="1296830"/>
                </a:lnTo>
                <a:lnTo>
                  <a:pt x="651272" y="1274615"/>
                </a:lnTo>
                <a:lnTo>
                  <a:pt x="652066" y="1251211"/>
                </a:lnTo>
                <a:lnTo>
                  <a:pt x="653653" y="1225029"/>
                </a:lnTo>
                <a:lnTo>
                  <a:pt x="660797" y="1208369"/>
                </a:lnTo>
                <a:lnTo>
                  <a:pt x="667147" y="1194881"/>
                </a:lnTo>
                <a:lnTo>
                  <a:pt x="670322" y="1188931"/>
                </a:lnTo>
                <a:lnTo>
                  <a:pt x="673497" y="1183774"/>
                </a:lnTo>
                <a:lnTo>
                  <a:pt x="680244" y="1174254"/>
                </a:lnTo>
                <a:lnTo>
                  <a:pt x="687388" y="1164733"/>
                </a:lnTo>
                <a:lnTo>
                  <a:pt x="696119" y="1155213"/>
                </a:lnTo>
                <a:lnTo>
                  <a:pt x="706438" y="1143312"/>
                </a:lnTo>
                <a:lnTo>
                  <a:pt x="718741" y="1129031"/>
                </a:lnTo>
                <a:lnTo>
                  <a:pt x="738585" y="1108007"/>
                </a:lnTo>
                <a:lnTo>
                  <a:pt x="756047" y="1088966"/>
                </a:lnTo>
                <a:lnTo>
                  <a:pt x="785416" y="1057231"/>
                </a:lnTo>
                <a:lnTo>
                  <a:pt x="797719" y="1043744"/>
                </a:lnTo>
                <a:lnTo>
                  <a:pt x="809228" y="1032240"/>
                </a:lnTo>
                <a:lnTo>
                  <a:pt x="820738" y="1021926"/>
                </a:lnTo>
                <a:lnTo>
                  <a:pt x="831056" y="1012802"/>
                </a:lnTo>
                <a:lnTo>
                  <a:pt x="836613" y="1008439"/>
                </a:lnTo>
                <a:lnTo>
                  <a:pt x="842169" y="1004869"/>
                </a:lnTo>
                <a:lnTo>
                  <a:pt x="848122" y="1000902"/>
                </a:lnTo>
                <a:lnTo>
                  <a:pt x="854075" y="997331"/>
                </a:lnTo>
                <a:lnTo>
                  <a:pt x="860028" y="994555"/>
                </a:lnTo>
                <a:lnTo>
                  <a:pt x="866378" y="991381"/>
                </a:lnTo>
                <a:lnTo>
                  <a:pt x="873125" y="988208"/>
                </a:lnTo>
                <a:lnTo>
                  <a:pt x="880269" y="985828"/>
                </a:lnTo>
                <a:lnTo>
                  <a:pt x="895350" y="980274"/>
                </a:lnTo>
                <a:lnTo>
                  <a:pt x="912416" y="975117"/>
                </a:lnTo>
                <a:lnTo>
                  <a:pt x="932260" y="970753"/>
                </a:lnTo>
                <a:lnTo>
                  <a:pt x="954881" y="965597"/>
                </a:lnTo>
                <a:lnTo>
                  <a:pt x="963613" y="965993"/>
                </a:lnTo>
                <a:lnTo>
                  <a:pt x="979488" y="966787"/>
                </a:lnTo>
                <a:lnTo>
                  <a:pt x="1004491" y="968373"/>
                </a:lnTo>
                <a:lnTo>
                  <a:pt x="1089819" y="1240103"/>
                </a:lnTo>
                <a:lnTo>
                  <a:pt x="1081484" y="1159179"/>
                </a:lnTo>
                <a:lnTo>
                  <a:pt x="1077516" y="1013199"/>
                </a:lnTo>
                <a:lnTo>
                  <a:pt x="1071959" y="999315"/>
                </a:lnTo>
                <a:lnTo>
                  <a:pt x="1083072" y="980671"/>
                </a:lnTo>
                <a:lnTo>
                  <a:pt x="1107281" y="980671"/>
                </a:lnTo>
                <a:lnTo>
                  <a:pt x="1117600" y="999315"/>
                </a:lnTo>
                <a:lnTo>
                  <a:pt x="1112837" y="1015579"/>
                </a:lnTo>
                <a:lnTo>
                  <a:pt x="1142206" y="1228203"/>
                </a:lnTo>
                <a:lnTo>
                  <a:pt x="1137841" y="971944"/>
                </a:lnTo>
                <a:lnTo>
                  <a:pt x="1146572" y="967580"/>
                </a:lnTo>
                <a:lnTo>
                  <a:pt x="1148953" y="966390"/>
                </a:lnTo>
                <a:lnTo>
                  <a:pt x="1149350" y="965597"/>
                </a:lnTo>
                <a:lnTo>
                  <a:pt x="1155700" y="965200"/>
                </a:lnTo>
                <a:close/>
                <a:moveTo>
                  <a:pt x="931148" y="736601"/>
                </a:moveTo>
                <a:lnTo>
                  <a:pt x="929554" y="751285"/>
                </a:lnTo>
                <a:lnTo>
                  <a:pt x="928757" y="762794"/>
                </a:lnTo>
                <a:lnTo>
                  <a:pt x="929155" y="762794"/>
                </a:lnTo>
                <a:lnTo>
                  <a:pt x="929554" y="751285"/>
                </a:lnTo>
                <a:lnTo>
                  <a:pt x="930351" y="746126"/>
                </a:lnTo>
                <a:lnTo>
                  <a:pt x="931148" y="741363"/>
                </a:lnTo>
                <a:lnTo>
                  <a:pt x="931148" y="736601"/>
                </a:lnTo>
                <a:close/>
                <a:moveTo>
                  <a:pt x="949086" y="679054"/>
                </a:moveTo>
                <a:lnTo>
                  <a:pt x="948289" y="679847"/>
                </a:lnTo>
                <a:lnTo>
                  <a:pt x="945499" y="681435"/>
                </a:lnTo>
                <a:lnTo>
                  <a:pt x="943904" y="683419"/>
                </a:lnTo>
                <a:lnTo>
                  <a:pt x="941911" y="686991"/>
                </a:lnTo>
                <a:lnTo>
                  <a:pt x="945897" y="682625"/>
                </a:lnTo>
                <a:lnTo>
                  <a:pt x="948289" y="681038"/>
                </a:lnTo>
                <a:lnTo>
                  <a:pt x="950282" y="679054"/>
                </a:lnTo>
                <a:lnTo>
                  <a:pt x="949086" y="679054"/>
                </a:lnTo>
                <a:close/>
                <a:moveTo>
                  <a:pt x="1038375" y="620713"/>
                </a:moveTo>
                <a:lnTo>
                  <a:pt x="1049138" y="620713"/>
                </a:lnTo>
                <a:lnTo>
                  <a:pt x="1059502" y="621110"/>
                </a:lnTo>
                <a:lnTo>
                  <a:pt x="1069866" y="622300"/>
                </a:lnTo>
                <a:lnTo>
                  <a:pt x="1079432" y="623491"/>
                </a:lnTo>
                <a:lnTo>
                  <a:pt x="1088999" y="625872"/>
                </a:lnTo>
                <a:lnTo>
                  <a:pt x="1098167" y="627857"/>
                </a:lnTo>
                <a:lnTo>
                  <a:pt x="1106937" y="630238"/>
                </a:lnTo>
                <a:lnTo>
                  <a:pt x="1115307" y="633413"/>
                </a:lnTo>
                <a:lnTo>
                  <a:pt x="1123678" y="636191"/>
                </a:lnTo>
                <a:lnTo>
                  <a:pt x="1130853" y="639763"/>
                </a:lnTo>
                <a:lnTo>
                  <a:pt x="1138028" y="642938"/>
                </a:lnTo>
                <a:lnTo>
                  <a:pt x="1144805" y="646510"/>
                </a:lnTo>
                <a:lnTo>
                  <a:pt x="1156365" y="652860"/>
                </a:lnTo>
                <a:lnTo>
                  <a:pt x="1166729" y="659607"/>
                </a:lnTo>
                <a:lnTo>
                  <a:pt x="1174701" y="664766"/>
                </a:lnTo>
                <a:lnTo>
                  <a:pt x="1180680" y="669529"/>
                </a:lnTo>
                <a:lnTo>
                  <a:pt x="1185862" y="673497"/>
                </a:lnTo>
                <a:lnTo>
                  <a:pt x="1185862" y="676275"/>
                </a:lnTo>
                <a:lnTo>
                  <a:pt x="1185862" y="684213"/>
                </a:lnTo>
                <a:lnTo>
                  <a:pt x="1185065" y="688975"/>
                </a:lnTo>
                <a:lnTo>
                  <a:pt x="1183869" y="694532"/>
                </a:lnTo>
                <a:lnTo>
                  <a:pt x="1182274" y="700088"/>
                </a:lnTo>
                <a:lnTo>
                  <a:pt x="1180281" y="704850"/>
                </a:lnTo>
                <a:lnTo>
                  <a:pt x="1179086" y="707629"/>
                </a:lnTo>
                <a:lnTo>
                  <a:pt x="1177093" y="710010"/>
                </a:lnTo>
                <a:lnTo>
                  <a:pt x="1175498" y="711994"/>
                </a:lnTo>
                <a:lnTo>
                  <a:pt x="1173505" y="713979"/>
                </a:lnTo>
                <a:lnTo>
                  <a:pt x="1170715" y="715963"/>
                </a:lnTo>
                <a:lnTo>
                  <a:pt x="1168323" y="717154"/>
                </a:lnTo>
                <a:lnTo>
                  <a:pt x="1165533" y="718344"/>
                </a:lnTo>
                <a:lnTo>
                  <a:pt x="1161945" y="719138"/>
                </a:lnTo>
                <a:lnTo>
                  <a:pt x="1158756" y="719535"/>
                </a:lnTo>
                <a:lnTo>
                  <a:pt x="1154770" y="719535"/>
                </a:lnTo>
                <a:lnTo>
                  <a:pt x="1150784" y="719138"/>
                </a:lnTo>
                <a:lnTo>
                  <a:pt x="1146001" y="718344"/>
                </a:lnTo>
                <a:lnTo>
                  <a:pt x="1140819" y="717154"/>
                </a:lnTo>
                <a:lnTo>
                  <a:pt x="1135238" y="715566"/>
                </a:lnTo>
                <a:lnTo>
                  <a:pt x="1129259" y="712788"/>
                </a:lnTo>
                <a:lnTo>
                  <a:pt x="1123678" y="710010"/>
                </a:lnTo>
                <a:lnTo>
                  <a:pt x="1120091" y="708819"/>
                </a:lnTo>
                <a:lnTo>
                  <a:pt x="1114112" y="707629"/>
                </a:lnTo>
                <a:lnTo>
                  <a:pt x="1098964" y="704850"/>
                </a:lnTo>
                <a:lnTo>
                  <a:pt x="1083418" y="702072"/>
                </a:lnTo>
                <a:lnTo>
                  <a:pt x="1077439" y="700882"/>
                </a:lnTo>
                <a:lnTo>
                  <a:pt x="1073852" y="700088"/>
                </a:lnTo>
                <a:lnTo>
                  <a:pt x="1104545" y="714772"/>
                </a:lnTo>
                <a:lnTo>
                  <a:pt x="1118895" y="721122"/>
                </a:lnTo>
                <a:lnTo>
                  <a:pt x="1125671" y="723504"/>
                </a:lnTo>
                <a:lnTo>
                  <a:pt x="1132448" y="725885"/>
                </a:lnTo>
                <a:lnTo>
                  <a:pt x="1138826" y="728266"/>
                </a:lnTo>
                <a:lnTo>
                  <a:pt x="1144805" y="729457"/>
                </a:lnTo>
                <a:lnTo>
                  <a:pt x="1150784" y="730647"/>
                </a:lnTo>
                <a:lnTo>
                  <a:pt x="1155966" y="731044"/>
                </a:lnTo>
                <a:lnTo>
                  <a:pt x="1161148" y="730647"/>
                </a:lnTo>
                <a:lnTo>
                  <a:pt x="1165931" y="729457"/>
                </a:lnTo>
                <a:lnTo>
                  <a:pt x="1170316" y="727869"/>
                </a:lnTo>
                <a:lnTo>
                  <a:pt x="1174302" y="725091"/>
                </a:lnTo>
                <a:lnTo>
                  <a:pt x="1175498" y="735410"/>
                </a:lnTo>
                <a:lnTo>
                  <a:pt x="1175897" y="744935"/>
                </a:lnTo>
                <a:lnTo>
                  <a:pt x="1175498" y="753666"/>
                </a:lnTo>
                <a:lnTo>
                  <a:pt x="1175099" y="762397"/>
                </a:lnTo>
                <a:lnTo>
                  <a:pt x="1176694" y="761207"/>
                </a:lnTo>
                <a:lnTo>
                  <a:pt x="1177491" y="760413"/>
                </a:lnTo>
                <a:lnTo>
                  <a:pt x="1178687" y="760016"/>
                </a:lnTo>
                <a:lnTo>
                  <a:pt x="1179086" y="760413"/>
                </a:lnTo>
                <a:lnTo>
                  <a:pt x="1179484" y="761207"/>
                </a:lnTo>
                <a:lnTo>
                  <a:pt x="1179883" y="763985"/>
                </a:lnTo>
                <a:lnTo>
                  <a:pt x="1180281" y="767954"/>
                </a:lnTo>
                <a:lnTo>
                  <a:pt x="1180281" y="773113"/>
                </a:lnTo>
                <a:lnTo>
                  <a:pt x="1179086" y="785813"/>
                </a:lnTo>
                <a:lnTo>
                  <a:pt x="1177491" y="800498"/>
                </a:lnTo>
                <a:lnTo>
                  <a:pt x="1175498" y="814388"/>
                </a:lnTo>
                <a:lnTo>
                  <a:pt x="1173505" y="826294"/>
                </a:lnTo>
                <a:lnTo>
                  <a:pt x="1171911" y="833438"/>
                </a:lnTo>
                <a:lnTo>
                  <a:pt x="1170715" y="834629"/>
                </a:lnTo>
                <a:lnTo>
                  <a:pt x="1170316" y="834232"/>
                </a:lnTo>
                <a:lnTo>
                  <a:pt x="1169519" y="842169"/>
                </a:lnTo>
                <a:lnTo>
                  <a:pt x="1168323" y="849710"/>
                </a:lnTo>
                <a:lnTo>
                  <a:pt x="1166729" y="856854"/>
                </a:lnTo>
                <a:lnTo>
                  <a:pt x="1165134" y="863998"/>
                </a:lnTo>
                <a:lnTo>
                  <a:pt x="1162742" y="870744"/>
                </a:lnTo>
                <a:lnTo>
                  <a:pt x="1160351" y="877491"/>
                </a:lnTo>
                <a:lnTo>
                  <a:pt x="1157959" y="883841"/>
                </a:lnTo>
                <a:lnTo>
                  <a:pt x="1154770" y="890191"/>
                </a:lnTo>
                <a:lnTo>
                  <a:pt x="1151980" y="896541"/>
                </a:lnTo>
                <a:lnTo>
                  <a:pt x="1148791" y="902098"/>
                </a:lnTo>
                <a:lnTo>
                  <a:pt x="1145602" y="907654"/>
                </a:lnTo>
                <a:lnTo>
                  <a:pt x="1141616" y="913210"/>
                </a:lnTo>
                <a:lnTo>
                  <a:pt x="1138028" y="918370"/>
                </a:lnTo>
                <a:lnTo>
                  <a:pt x="1134042" y="923529"/>
                </a:lnTo>
                <a:lnTo>
                  <a:pt x="1126070" y="932260"/>
                </a:lnTo>
                <a:lnTo>
                  <a:pt x="1117699" y="940595"/>
                </a:lnTo>
                <a:lnTo>
                  <a:pt x="1108531" y="947738"/>
                </a:lnTo>
                <a:lnTo>
                  <a:pt x="1099762" y="954088"/>
                </a:lnTo>
                <a:lnTo>
                  <a:pt x="1090593" y="959248"/>
                </a:lnTo>
                <a:lnTo>
                  <a:pt x="1081027" y="963216"/>
                </a:lnTo>
                <a:lnTo>
                  <a:pt x="1077041" y="964804"/>
                </a:lnTo>
                <a:lnTo>
                  <a:pt x="1072257" y="966391"/>
                </a:lnTo>
                <a:lnTo>
                  <a:pt x="1067474" y="967185"/>
                </a:lnTo>
                <a:lnTo>
                  <a:pt x="1063488" y="967979"/>
                </a:lnTo>
                <a:lnTo>
                  <a:pt x="1059103" y="968376"/>
                </a:lnTo>
                <a:lnTo>
                  <a:pt x="1054719" y="968376"/>
                </a:lnTo>
                <a:lnTo>
                  <a:pt x="1051530" y="968376"/>
                </a:lnTo>
                <a:lnTo>
                  <a:pt x="1047543" y="967979"/>
                </a:lnTo>
                <a:lnTo>
                  <a:pt x="1043956" y="967185"/>
                </a:lnTo>
                <a:lnTo>
                  <a:pt x="1039970" y="965995"/>
                </a:lnTo>
                <a:lnTo>
                  <a:pt x="1031998" y="962820"/>
                </a:lnTo>
                <a:lnTo>
                  <a:pt x="1023627" y="958851"/>
                </a:lnTo>
                <a:lnTo>
                  <a:pt x="1014857" y="953295"/>
                </a:lnTo>
                <a:lnTo>
                  <a:pt x="1006088" y="947341"/>
                </a:lnTo>
                <a:lnTo>
                  <a:pt x="997318" y="939801"/>
                </a:lnTo>
                <a:lnTo>
                  <a:pt x="988549" y="931863"/>
                </a:lnTo>
                <a:lnTo>
                  <a:pt x="979779" y="922338"/>
                </a:lnTo>
                <a:lnTo>
                  <a:pt x="971807" y="912813"/>
                </a:lnTo>
                <a:lnTo>
                  <a:pt x="963835" y="902098"/>
                </a:lnTo>
                <a:lnTo>
                  <a:pt x="956660" y="890985"/>
                </a:lnTo>
                <a:lnTo>
                  <a:pt x="949883" y="878682"/>
                </a:lnTo>
                <a:lnTo>
                  <a:pt x="943904" y="865982"/>
                </a:lnTo>
                <a:lnTo>
                  <a:pt x="941512" y="859632"/>
                </a:lnTo>
                <a:lnTo>
                  <a:pt x="938722" y="852885"/>
                </a:lnTo>
                <a:lnTo>
                  <a:pt x="936729" y="846138"/>
                </a:lnTo>
                <a:lnTo>
                  <a:pt x="934736" y="839391"/>
                </a:lnTo>
                <a:lnTo>
                  <a:pt x="933540" y="843757"/>
                </a:lnTo>
                <a:lnTo>
                  <a:pt x="931547" y="847329"/>
                </a:lnTo>
                <a:lnTo>
                  <a:pt x="929554" y="849710"/>
                </a:lnTo>
                <a:lnTo>
                  <a:pt x="928757" y="850107"/>
                </a:lnTo>
                <a:lnTo>
                  <a:pt x="927960" y="850504"/>
                </a:lnTo>
                <a:lnTo>
                  <a:pt x="926764" y="850107"/>
                </a:lnTo>
                <a:lnTo>
                  <a:pt x="925568" y="849710"/>
                </a:lnTo>
                <a:lnTo>
                  <a:pt x="924372" y="848123"/>
                </a:lnTo>
                <a:lnTo>
                  <a:pt x="923575" y="846535"/>
                </a:lnTo>
                <a:lnTo>
                  <a:pt x="921582" y="842963"/>
                </a:lnTo>
                <a:lnTo>
                  <a:pt x="920386" y="837407"/>
                </a:lnTo>
                <a:lnTo>
                  <a:pt x="918791" y="831057"/>
                </a:lnTo>
                <a:lnTo>
                  <a:pt x="917596" y="823516"/>
                </a:lnTo>
                <a:lnTo>
                  <a:pt x="917197" y="815182"/>
                </a:lnTo>
                <a:lnTo>
                  <a:pt x="916798" y="806054"/>
                </a:lnTo>
                <a:lnTo>
                  <a:pt x="917197" y="798116"/>
                </a:lnTo>
                <a:lnTo>
                  <a:pt x="917596" y="790576"/>
                </a:lnTo>
                <a:lnTo>
                  <a:pt x="918393" y="783829"/>
                </a:lnTo>
                <a:lnTo>
                  <a:pt x="919987" y="777479"/>
                </a:lnTo>
                <a:lnTo>
                  <a:pt x="921183" y="772319"/>
                </a:lnTo>
                <a:lnTo>
                  <a:pt x="922379" y="767954"/>
                </a:lnTo>
                <a:lnTo>
                  <a:pt x="924372" y="764779"/>
                </a:lnTo>
                <a:lnTo>
                  <a:pt x="925169" y="763588"/>
                </a:lnTo>
                <a:lnTo>
                  <a:pt x="926365" y="763191"/>
                </a:lnTo>
                <a:lnTo>
                  <a:pt x="923176" y="759619"/>
                </a:lnTo>
                <a:lnTo>
                  <a:pt x="920785" y="756444"/>
                </a:lnTo>
                <a:lnTo>
                  <a:pt x="918393" y="752476"/>
                </a:lnTo>
                <a:lnTo>
                  <a:pt x="916798" y="748507"/>
                </a:lnTo>
                <a:lnTo>
                  <a:pt x="915204" y="744538"/>
                </a:lnTo>
                <a:lnTo>
                  <a:pt x="914407" y="739776"/>
                </a:lnTo>
                <a:lnTo>
                  <a:pt x="913609" y="735807"/>
                </a:lnTo>
                <a:lnTo>
                  <a:pt x="913211" y="731044"/>
                </a:lnTo>
                <a:lnTo>
                  <a:pt x="912812" y="727076"/>
                </a:lnTo>
                <a:lnTo>
                  <a:pt x="912812" y="721916"/>
                </a:lnTo>
                <a:lnTo>
                  <a:pt x="913609" y="712391"/>
                </a:lnTo>
                <a:lnTo>
                  <a:pt x="915204" y="703263"/>
                </a:lnTo>
                <a:lnTo>
                  <a:pt x="917197" y="694135"/>
                </a:lnTo>
                <a:lnTo>
                  <a:pt x="920386" y="685007"/>
                </a:lnTo>
                <a:lnTo>
                  <a:pt x="923575" y="676672"/>
                </a:lnTo>
                <a:lnTo>
                  <a:pt x="927162" y="668735"/>
                </a:lnTo>
                <a:lnTo>
                  <a:pt x="930750" y="661988"/>
                </a:lnTo>
                <a:lnTo>
                  <a:pt x="934337" y="656035"/>
                </a:lnTo>
                <a:lnTo>
                  <a:pt x="937526" y="651272"/>
                </a:lnTo>
                <a:lnTo>
                  <a:pt x="940715" y="647700"/>
                </a:lnTo>
                <a:lnTo>
                  <a:pt x="943107" y="646113"/>
                </a:lnTo>
                <a:lnTo>
                  <a:pt x="955862" y="639763"/>
                </a:lnTo>
                <a:lnTo>
                  <a:pt x="968219" y="634604"/>
                </a:lnTo>
                <a:lnTo>
                  <a:pt x="980178" y="630238"/>
                </a:lnTo>
                <a:lnTo>
                  <a:pt x="992535" y="627063"/>
                </a:lnTo>
                <a:lnTo>
                  <a:pt x="1004493" y="624285"/>
                </a:lnTo>
                <a:lnTo>
                  <a:pt x="1016053" y="622300"/>
                </a:lnTo>
                <a:lnTo>
                  <a:pt x="1027214" y="621110"/>
                </a:lnTo>
                <a:lnTo>
                  <a:pt x="1038375" y="620713"/>
                </a:lnTo>
                <a:close/>
                <a:moveTo>
                  <a:pt x="1043186" y="515586"/>
                </a:moveTo>
                <a:lnTo>
                  <a:pt x="1022934" y="515983"/>
                </a:lnTo>
                <a:lnTo>
                  <a:pt x="1002682" y="516777"/>
                </a:lnTo>
                <a:lnTo>
                  <a:pt x="982827" y="518364"/>
                </a:lnTo>
                <a:lnTo>
                  <a:pt x="962972" y="519952"/>
                </a:lnTo>
                <a:lnTo>
                  <a:pt x="943514" y="521937"/>
                </a:lnTo>
                <a:lnTo>
                  <a:pt x="924056" y="525113"/>
                </a:lnTo>
                <a:lnTo>
                  <a:pt x="904598" y="527891"/>
                </a:lnTo>
                <a:lnTo>
                  <a:pt x="885140" y="531861"/>
                </a:lnTo>
                <a:lnTo>
                  <a:pt x="866476" y="535830"/>
                </a:lnTo>
                <a:lnTo>
                  <a:pt x="847812" y="540594"/>
                </a:lnTo>
                <a:lnTo>
                  <a:pt x="829148" y="545754"/>
                </a:lnTo>
                <a:lnTo>
                  <a:pt x="810485" y="550914"/>
                </a:lnTo>
                <a:lnTo>
                  <a:pt x="792218" y="556869"/>
                </a:lnTo>
                <a:lnTo>
                  <a:pt x="774348" y="563220"/>
                </a:lnTo>
                <a:lnTo>
                  <a:pt x="756082" y="569968"/>
                </a:lnTo>
                <a:lnTo>
                  <a:pt x="738609" y="577113"/>
                </a:lnTo>
                <a:lnTo>
                  <a:pt x="721137" y="585449"/>
                </a:lnTo>
                <a:lnTo>
                  <a:pt x="704061" y="593388"/>
                </a:lnTo>
                <a:lnTo>
                  <a:pt x="686986" y="601724"/>
                </a:lnTo>
                <a:lnTo>
                  <a:pt x="670308" y="610457"/>
                </a:lnTo>
                <a:lnTo>
                  <a:pt x="653630" y="619587"/>
                </a:lnTo>
                <a:lnTo>
                  <a:pt x="637745" y="629114"/>
                </a:lnTo>
                <a:lnTo>
                  <a:pt x="621861" y="639037"/>
                </a:lnTo>
                <a:lnTo>
                  <a:pt x="605977" y="649755"/>
                </a:lnTo>
                <a:lnTo>
                  <a:pt x="590490" y="660473"/>
                </a:lnTo>
                <a:lnTo>
                  <a:pt x="575400" y="671190"/>
                </a:lnTo>
                <a:lnTo>
                  <a:pt x="559913" y="682702"/>
                </a:lnTo>
                <a:lnTo>
                  <a:pt x="545617" y="694610"/>
                </a:lnTo>
                <a:lnTo>
                  <a:pt x="531322" y="706519"/>
                </a:lnTo>
                <a:lnTo>
                  <a:pt x="517026" y="719221"/>
                </a:lnTo>
                <a:lnTo>
                  <a:pt x="503525" y="731924"/>
                </a:lnTo>
                <a:lnTo>
                  <a:pt x="490023" y="745023"/>
                </a:lnTo>
                <a:lnTo>
                  <a:pt x="476919" y="758520"/>
                </a:lnTo>
                <a:lnTo>
                  <a:pt x="464212" y="772413"/>
                </a:lnTo>
                <a:lnTo>
                  <a:pt x="451504" y="786306"/>
                </a:lnTo>
                <a:lnTo>
                  <a:pt x="439591" y="800596"/>
                </a:lnTo>
                <a:lnTo>
                  <a:pt x="427678" y="815680"/>
                </a:lnTo>
                <a:lnTo>
                  <a:pt x="416162" y="830368"/>
                </a:lnTo>
                <a:lnTo>
                  <a:pt x="405441" y="845452"/>
                </a:lnTo>
                <a:lnTo>
                  <a:pt x="394322" y="860933"/>
                </a:lnTo>
                <a:lnTo>
                  <a:pt x="383997" y="876811"/>
                </a:lnTo>
                <a:lnTo>
                  <a:pt x="374070" y="892689"/>
                </a:lnTo>
                <a:lnTo>
                  <a:pt x="364539" y="908964"/>
                </a:lnTo>
                <a:lnTo>
                  <a:pt x="355009" y="925636"/>
                </a:lnTo>
                <a:lnTo>
                  <a:pt x="346272" y="941911"/>
                </a:lnTo>
                <a:lnTo>
                  <a:pt x="337933" y="959377"/>
                </a:lnTo>
                <a:lnTo>
                  <a:pt x="329594" y="976048"/>
                </a:lnTo>
                <a:lnTo>
                  <a:pt x="322049" y="993911"/>
                </a:lnTo>
                <a:lnTo>
                  <a:pt x="314901" y="1011377"/>
                </a:lnTo>
                <a:lnTo>
                  <a:pt x="308151" y="1029240"/>
                </a:lnTo>
                <a:lnTo>
                  <a:pt x="301797" y="1047500"/>
                </a:lnTo>
                <a:lnTo>
                  <a:pt x="295840" y="1065362"/>
                </a:lnTo>
                <a:lnTo>
                  <a:pt x="290678" y="1084019"/>
                </a:lnTo>
                <a:lnTo>
                  <a:pt x="285516" y="1102676"/>
                </a:lnTo>
                <a:lnTo>
                  <a:pt x="280751" y="1121729"/>
                </a:lnTo>
                <a:lnTo>
                  <a:pt x="276780" y="1140783"/>
                </a:lnTo>
                <a:lnTo>
                  <a:pt x="272809" y="1159440"/>
                </a:lnTo>
                <a:lnTo>
                  <a:pt x="270029" y="1178890"/>
                </a:lnTo>
                <a:lnTo>
                  <a:pt x="266852" y="1198341"/>
                </a:lnTo>
                <a:lnTo>
                  <a:pt x="264867" y="1218188"/>
                </a:lnTo>
                <a:lnTo>
                  <a:pt x="263278" y="1237639"/>
                </a:lnTo>
                <a:lnTo>
                  <a:pt x="261690" y="1257883"/>
                </a:lnTo>
                <a:lnTo>
                  <a:pt x="260896" y="1277731"/>
                </a:lnTo>
                <a:lnTo>
                  <a:pt x="260498" y="1297975"/>
                </a:lnTo>
                <a:lnTo>
                  <a:pt x="260896" y="1318220"/>
                </a:lnTo>
                <a:lnTo>
                  <a:pt x="261690" y="1338067"/>
                </a:lnTo>
                <a:lnTo>
                  <a:pt x="263278" y="1357915"/>
                </a:lnTo>
                <a:lnTo>
                  <a:pt x="264867" y="1377763"/>
                </a:lnTo>
                <a:lnTo>
                  <a:pt x="266852" y="1397213"/>
                </a:lnTo>
                <a:lnTo>
                  <a:pt x="270029" y="1416664"/>
                </a:lnTo>
                <a:lnTo>
                  <a:pt x="272809" y="1436114"/>
                </a:lnTo>
                <a:lnTo>
                  <a:pt x="276780" y="1455168"/>
                </a:lnTo>
                <a:lnTo>
                  <a:pt x="280751" y="1474222"/>
                </a:lnTo>
                <a:lnTo>
                  <a:pt x="285516" y="1493275"/>
                </a:lnTo>
                <a:lnTo>
                  <a:pt x="290678" y="1511535"/>
                </a:lnTo>
                <a:lnTo>
                  <a:pt x="295840" y="1530192"/>
                </a:lnTo>
                <a:lnTo>
                  <a:pt x="301797" y="1548452"/>
                </a:lnTo>
                <a:lnTo>
                  <a:pt x="308151" y="1566314"/>
                </a:lnTo>
                <a:lnTo>
                  <a:pt x="314901" y="1584177"/>
                </a:lnTo>
                <a:lnTo>
                  <a:pt x="322049" y="1602040"/>
                </a:lnTo>
                <a:lnTo>
                  <a:pt x="329594" y="1619109"/>
                </a:lnTo>
                <a:lnTo>
                  <a:pt x="337933" y="1636575"/>
                </a:lnTo>
                <a:lnTo>
                  <a:pt x="346272" y="1653247"/>
                </a:lnTo>
                <a:lnTo>
                  <a:pt x="355009" y="1670316"/>
                </a:lnTo>
                <a:lnTo>
                  <a:pt x="364539" y="1686591"/>
                </a:lnTo>
                <a:lnTo>
                  <a:pt x="374070" y="1703262"/>
                </a:lnTo>
                <a:lnTo>
                  <a:pt x="383997" y="1719140"/>
                </a:lnTo>
                <a:lnTo>
                  <a:pt x="394322" y="1734622"/>
                </a:lnTo>
                <a:lnTo>
                  <a:pt x="405441" y="1750500"/>
                </a:lnTo>
                <a:lnTo>
                  <a:pt x="416162" y="1765584"/>
                </a:lnTo>
                <a:lnTo>
                  <a:pt x="427678" y="1780271"/>
                </a:lnTo>
                <a:lnTo>
                  <a:pt x="439591" y="1794958"/>
                </a:lnTo>
                <a:lnTo>
                  <a:pt x="451504" y="1809248"/>
                </a:lnTo>
                <a:lnTo>
                  <a:pt x="464212" y="1823142"/>
                </a:lnTo>
                <a:lnTo>
                  <a:pt x="476919" y="1837035"/>
                </a:lnTo>
                <a:lnTo>
                  <a:pt x="490023" y="1850531"/>
                </a:lnTo>
                <a:lnTo>
                  <a:pt x="503525" y="1863631"/>
                </a:lnTo>
                <a:lnTo>
                  <a:pt x="517026" y="1876333"/>
                </a:lnTo>
                <a:lnTo>
                  <a:pt x="531322" y="1889035"/>
                </a:lnTo>
                <a:lnTo>
                  <a:pt x="545617" y="1900944"/>
                </a:lnTo>
                <a:lnTo>
                  <a:pt x="559913" y="1912852"/>
                </a:lnTo>
                <a:lnTo>
                  <a:pt x="575400" y="1923967"/>
                </a:lnTo>
                <a:lnTo>
                  <a:pt x="590490" y="1935479"/>
                </a:lnTo>
                <a:lnTo>
                  <a:pt x="605977" y="1945799"/>
                </a:lnTo>
                <a:lnTo>
                  <a:pt x="621861" y="1956517"/>
                </a:lnTo>
                <a:lnTo>
                  <a:pt x="637745" y="1966044"/>
                </a:lnTo>
                <a:lnTo>
                  <a:pt x="653630" y="1975968"/>
                </a:lnTo>
                <a:lnTo>
                  <a:pt x="670308" y="1985097"/>
                </a:lnTo>
                <a:lnTo>
                  <a:pt x="686986" y="1994227"/>
                </a:lnTo>
                <a:lnTo>
                  <a:pt x="704061" y="2002563"/>
                </a:lnTo>
                <a:lnTo>
                  <a:pt x="721137" y="2010502"/>
                </a:lnTo>
                <a:lnTo>
                  <a:pt x="738609" y="2018044"/>
                </a:lnTo>
                <a:lnTo>
                  <a:pt x="756082" y="2025189"/>
                </a:lnTo>
                <a:lnTo>
                  <a:pt x="774348" y="2032335"/>
                </a:lnTo>
                <a:lnTo>
                  <a:pt x="792218" y="2038686"/>
                </a:lnTo>
                <a:lnTo>
                  <a:pt x="810485" y="2044640"/>
                </a:lnTo>
                <a:lnTo>
                  <a:pt x="829148" y="2050197"/>
                </a:lnTo>
                <a:lnTo>
                  <a:pt x="847812" y="2055358"/>
                </a:lnTo>
                <a:lnTo>
                  <a:pt x="866476" y="2059724"/>
                </a:lnTo>
                <a:lnTo>
                  <a:pt x="885140" y="2064091"/>
                </a:lnTo>
                <a:lnTo>
                  <a:pt x="904598" y="2067266"/>
                </a:lnTo>
                <a:lnTo>
                  <a:pt x="924056" y="2070839"/>
                </a:lnTo>
                <a:lnTo>
                  <a:pt x="943514" y="2073220"/>
                </a:lnTo>
                <a:lnTo>
                  <a:pt x="962972" y="2075999"/>
                </a:lnTo>
                <a:lnTo>
                  <a:pt x="982827" y="2077587"/>
                </a:lnTo>
                <a:lnTo>
                  <a:pt x="1002682" y="2078778"/>
                </a:lnTo>
                <a:lnTo>
                  <a:pt x="1022934" y="2079572"/>
                </a:lnTo>
                <a:lnTo>
                  <a:pt x="1043186" y="2079572"/>
                </a:lnTo>
                <a:lnTo>
                  <a:pt x="1063041" y="2079572"/>
                </a:lnTo>
                <a:lnTo>
                  <a:pt x="1083293" y="2078778"/>
                </a:lnTo>
                <a:lnTo>
                  <a:pt x="1103148" y="2077587"/>
                </a:lnTo>
                <a:lnTo>
                  <a:pt x="1122606" y="2075999"/>
                </a:lnTo>
                <a:lnTo>
                  <a:pt x="1142064" y="2073220"/>
                </a:lnTo>
                <a:lnTo>
                  <a:pt x="1161919" y="2070839"/>
                </a:lnTo>
                <a:lnTo>
                  <a:pt x="1180980" y="2067266"/>
                </a:lnTo>
                <a:lnTo>
                  <a:pt x="1200438" y="2064091"/>
                </a:lnTo>
                <a:lnTo>
                  <a:pt x="1219499" y="2059724"/>
                </a:lnTo>
                <a:lnTo>
                  <a:pt x="1237766" y="2055358"/>
                </a:lnTo>
                <a:lnTo>
                  <a:pt x="1256827" y="2050197"/>
                </a:lnTo>
                <a:lnTo>
                  <a:pt x="1275093" y="2044640"/>
                </a:lnTo>
                <a:lnTo>
                  <a:pt x="1293757" y="2038686"/>
                </a:lnTo>
                <a:lnTo>
                  <a:pt x="1311627" y="2032335"/>
                </a:lnTo>
                <a:lnTo>
                  <a:pt x="1329496" y="2025189"/>
                </a:lnTo>
                <a:lnTo>
                  <a:pt x="1347366" y="2018044"/>
                </a:lnTo>
                <a:lnTo>
                  <a:pt x="1364441" y="2010502"/>
                </a:lnTo>
                <a:lnTo>
                  <a:pt x="1381914" y="2002563"/>
                </a:lnTo>
                <a:lnTo>
                  <a:pt x="1398592" y="1994227"/>
                </a:lnTo>
                <a:lnTo>
                  <a:pt x="1415667" y="1985097"/>
                </a:lnTo>
                <a:lnTo>
                  <a:pt x="1431949" y="1975968"/>
                </a:lnTo>
                <a:lnTo>
                  <a:pt x="1447833" y="1966044"/>
                </a:lnTo>
                <a:lnTo>
                  <a:pt x="1464114" y="1956517"/>
                </a:lnTo>
                <a:lnTo>
                  <a:pt x="1479998" y="1945799"/>
                </a:lnTo>
                <a:lnTo>
                  <a:pt x="1495088" y="1935479"/>
                </a:lnTo>
                <a:lnTo>
                  <a:pt x="1510575" y="1923967"/>
                </a:lnTo>
                <a:lnTo>
                  <a:pt x="1525665" y="1912852"/>
                </a:lnTo>
                <a:lnTo>
                  <a:pt x="1539960" y="1900944"/>
                </a:lnTo>
                <a:lnTo>
                  <a:pt x="1554256" y="1889035"/>
                </a:lnTo>
                <a:lnTo>
                  <a:pt x="1568551" y="1876333"/>
                </a:lnTo>
                <a:lnTo>
                  <a:pt x="1582053" y="1863631"/>
                </a:lnTo>
                <a:lnTo>
                  <a:pt x="1595555" y="1850531"/>
                </a:lnTo>
                <a:lnTo>
                  <a:pt x="1608659" y="1837035"/>
                </a:lnTo>
                <a:lnTo>
                  <a:pt x="1621763" y="1823142"/>
                </a:lnTo>
                <a:lnTo>
                  <a:pt x="1634073" y="1809248"/>
                </a:lnTo>
                <a:lnTo>
                  <a:pt x="1646383" y="1794958"/>
                </a:lnTo>
                <a:lnTo>
                  <a:pt x="1657899" y="1780271"/>
                </a:lnTo>
                <a:lnTo>
                  <a:pt x="1669415" y="1765584"/>
                </a:lnTo>
                <a:lnTo>
                  <a:pt x="1680534" y="1750500"/>
                </a:lnTo>
                <a:lnTo>
                  <a:pt x="1691256" y="1734622"/>
                </a:lnTo>
                <a:lnTo>
                  <a:pt x="1701581" y="1719140"/>
                </a:lnTo>
                <a:lnTo>
                  <a:pt x="1711508" y="1703262"/>
                </a:lnTo>
                <a:lnTo>
                  <a:pt x="1721436" y="1686591"/>
                </a:lnTo>
                <a:lnTo>
                  <a:pt x="1730569" y="1670316"/>
                </a:lnTo>
                <a:lnTo>
                  <a:pt x="1739305" y="1653247"/>
                </a:lnTo>
                <a:lnTo>
                  <a:pt x="1748041" y="1636575"/>
                </a:lnTo>
                <a:lnTo>
                  <a:pt x="1755983" y="1619109"/>
                </a:lnTo>
                <a:lnTo>
                  <a:pt x="1763529" y="1602040"/>
                </a:lnTo>
                <a:lnTo>
                  <a:pt x="1770676" y="1584177"/>
                </a:lnTo>
                <a:lnTo>
                  <a:pt x="1777427" y="1566314"/>
                </a:lnTo>
                <a:lnTo>
                  <a:pt x="1783781" y="1548452"/>
                </a:lnTo>
                <a:lnTo>
                  <a:pt x="1789737" y="1530192"/>
                </a:lnTo>
                <a:lnTo>
                  <a:pt x="1795694" y="1511535"/>
                </a:lnTo>
                <a:lnTo>
                  <a:pt x="1800459" y="1493275"/>
                </a:lnTo>
                <a:lnTo>
                  <a:pt x="1804827" y="1474222"/>
                </a:lnTo>
                <a:lnTo>
                  <a:pt x="1809195" y="1455168"/>
                </a:lnTo>
                <a:lnTo>
                  <a:pt x="1812769" y="1436114"/>
                </a:lnTo>
                <a:lnTo>
                  <a:pt x="1816343" y="1416664"/>
                </a:lnTo>
                <a:lnTo>
                  <a:pt x="1818726" y="1397213"/>
                </a:lnTo>
                <a:lnTo>
                  <a:pt x="1820711" y="1377763"/>
                </a:lnTo>
                <a:lnTo>
                  <a:pt x="1823094" y="1357915"/>
                </a:lnTo>
                <a:lnTo>
                  <a:pt x="1824285" y="1338067"/>
                </a:lnTo>
                <a:lnTo>
                  <a:pt x="1824682" y="1318220"/>
                </a:lnTo>
                <a:lnTo>
                  <a:pt x="1825079" y="1297975"/>
                </a:lnTo>
                <a:lnTo>
                  <a:pt x="1824682" y="1277731"/>
                </a:lnTo>
                <a:lnTo>
                  <a:pt x="1824285" y="1257883"/>
                </a:lnTo>
                <a:lnTo>
                  <a:pt x="1823094" y="1237639"/>
                </a:lnTo>
                <a:lnTo>
                  <a:pt x="1820711" y="1218188"/>
                </a:lnTo>
                <a:lnTo>
                  <a:pt x="1818726" y="1198341"/>
                </a:lnTo>
                <a:lnTo>
                  <a:pt x="1816343" y="1178890"/>
                </a:lnTo>
                <a:lnTo>
                  <a:pt x="1812769" y="1159440"/>
                </a:lnTo>
                <a:lnTo>
                  <a:pt x="1809195" y="1140783"/>
                </a:lnTo>
                <a:lnTo>
                  <a:pt x="1804827" y="1121729"/>
                </a:lnTo>
                <a:lnTo>
                  <a:pt x="1800459" y="1102676"/>
                </a:lnTo>
                <a:lnTo>
                  <a:pt x="1795694" y="1084019"/>
                </a:lnTo>
                <a:lnTo>
                  <a:pt x="1789737" y="1065362"/>
                </a:lnTo>
                <a:lnTo>
                  <a:pt x="1783781" y="1047500"/>
                </a:lnTo>
                <a:lnTo>
                  <a:pt x="1777427" y="1029240"/>
                </a:lnTo>
                <a:lnTo>
                  <a:pt x="1770676" y="1011377"/>
                </a:lnTo>
                <a:lnTo>
                  <a:pt x="1763529" y="993911"/>
                </a:lnTo>
                <a:lnTo>
                  <a:pt x="1755983" y="976048"/>
                </a:lnTo>
                <a:lnTo>
                  <a:pt x="1748041" y="959377"/>
                </a:lnTo>
                <a:lnTo>
                  <a:pt x="1739305" y="941911"/>
                </a:lnTo>
                <a:lnTo>
                  <a:pt x="1730569" y="925636"/>
                </a:lnTo>
                <a:lnTo>
                  <a:pt x="1721436" y="908964"/>
                </a:lnTo>
                <a:lnTo>
                  <a:pt x="1711508" y="892689"/>
                </a:lnTo>
                <a:lnTo>
                  <a:pt x="1701581" y="876811"/>
                </a:lnTo>
                <a:lnTo>
                  <a:pt x="1691256" y="860933"/>
                </a:lnTo>
                <a:lnTo>
                  <a:pt x="1680534" y="845452"/>
                </a:lnTo>
                <a:lnTo>
                  <a:pt x="1669415" y="830368"/>
                </a:lnTo>
                <a:lnTo>
                  <a:pt x="1657899" y="815680"/>
                </a:lnTo>
                <a:lnTo>
                  <a:pt x="1646383" y="800596"/>
                </a:lnTo>
                <a:lnTo>
                  <a:pt x="1634073" y="786306"/>
                </a:lnTo>
                <a:lnTo>
                  <a:pt x="1621763" y="772413"/>
                </a:lnTo>
                <a:lnTo>
                  <a:pt x="1608659" y="758520"/>
                </a:lnTo>
                <a:lnTo>
                  <a:pt x="1595555" y="745023"/>
                </a:lnTo>
                <a:lnTo>
                  <a:pt x="1582053" y="731924"/>
                </a:lnTo>
                <a:lnTo>
                  <a:pt x="1568551" y="719221"/>
                </a:lnTo>
                <a:lnTo>
                  <a:pt x="1554256" y="706519"/>
                </a:lnTo>
                <a:lnTo>
                  <a:pt x="1539960" y="694610"/>
                </a:lnTo>
                <a:lnTo>
                  <a:pt x="1525665" y="682702"/>
                </a:lnTo>
                <a:lnTo>
                  <a:pt x="1510575" y="671190"/>
                </a:lnTo>
                <a:lnTo>
                  <a:pt x="1495088" y="660473"/>
                </a:lnTo>
                <a:lnTo>
                  <a:pt x="1479998" y="649755"/>
                </a:lnTo>
                <a:lnTo>
                  <a:pt x="1464114" y="639037"/>
                </a:lnTo>
                <a:lnTo>
                  <a:pt x="1447833" y="629114"/>
                </a:lnTo>
                <a:lnTo>
                  <a:pt x="1431949" y="619587"/>
                </a:lnTo>
                <a:lnTo>
                  <a:pt x="1415667" y="610457"/>
                </a:lnTo>
                <a:lnTo>
                  <a:pt x="1398592" y="601724"/>
                </a:lnTo>
                <a:lnTo>
                  <a:pt x="1381914" y="593388"/>
                </a:lnTo>
                <a:lnTo>
                  <a:pt x="1364441" y="585449"/>
                </a:lnTo>
                <a:lnTo>
                  <a:pt x="1347366" y="577113"/>
                </a:lnTo>
                <a:lnTo>
                  <a:pt x="1329496" y="569968"/>
                </a:lnTo>
                <a:lnTo>
                  <a:pt x="1311627" y="563220"/>
                </a:lnTo>
                <a:lnTo>
                  <a:pt x="1293757" y="556869"/>
                </a:lnTo>
                <a:lnTo>
                  <a:pt x="1275093" y="550914"/>
                </a:lnTo>
                <a:lnTo>
                  <a:pt x="1256827" y="545754"/>
                </a:lnTo>
                <a:lnTo>
                  <a:pt x="1237766" y="540594"/>
                </a:lnTo>
                <a:lnTo>
                  <a:pt x="1219499" y="535830"/>
                </a:lnTo>
                <a:lnTo>
                  <a:pt x="1200438" y="531861"/>
                </a:lnTo>
                <a:lnTo>
                  <a:pt x="1180980" y="527891"/>
                </a:lnTo>
                <a:lnTo>
                  <a:pt x="1161919" y="525113"/>
                </a:lnTo>
                <a:lnTo>
                  <a:pt x="1142064" y="521937"/>
                </a:lnTo>
                <a:lnTo>
                  <a:pt x="1122606" y="519952"/>
                </a:lnTo>
                <a:lnTo>
                  <a:pt x="1103148" y="518364"/>
                </a:lnTo>
                <a:lnTo>
                  <a:pt x="1083293" y="516777"/>
                </a:lnTo>
                <a:lnTo>
                  <a:pt x="1063041" y="515983"/>
                </a:lnTo>
                <a:lnTo>
                  <a:pt x="1043186" y="515586"/>
                </a:lnTo>
                <a:close/>
                <a:moveTo>
                  <a:pt x="803734" y="280988"/>
                </a:moveTo>
                <a:lnTo>
                  <a:pt x="862902" y="391340"/>
                </a:lnTo>
                <a:lnTo>
                  <a:pt x="884743" y="387371"/>
                </a:lnTo>
                <a:lnTo>
                  <a:pt x="906980" y="383798"/>
                </a:lnTo>
                <a:lnTo>
                  <a:pt x="929218" y="380622"/>
                </a:lnTo>
                <a:lnTo>
                  <a:pt x="951456" y="378241"/>
                </a:lnTo>
                <a:lnTo>
                  <a:pt x="974488" y="376256"/>
                </a:lnTo>
                <a:lnTo>
                  <a:pt x="997122" y="374668"/>
                </a:lnTo>
                <a:lnTo>
                  <a:pt x="1019757" y="373874"/>
                </a:lnTo>
                <a:lnTo>
                  <a:pt x="1043186" y="373477"/>
                </a:lnTo>
                <a:lnTo>
                  <a:pt x="1059865" y="373874"/>
                </a:lnTo>
                <a:lnTo>
                  <a:pt x="1076940" y="374271"/>
                </a:lnTo>
                <a:lnTo>
                  <a:pt x="1093618" y="375462"/>
                </a:lnTo>
                <a:lnTo>
                  <a:pt x="1110693" y="376256"/>
                </a:lnTo>
                <a:lnTo>
                  <a:pt x="1127372" y="377844"/>
                </a:lnTo>
                <a:lnTo>
                  <a:pt x="1144050" y="379432"/>
                </a:lnTo>
                <a:lnTo>
                  <a:pt x="1160331" y="381019"/>
                </a:lnTo>
                <a:lnTo>
                  <a:pt x="1176612" y="383798"/>
                </a:lnTo>
                <a:lnTo>
                  <a:pt x="1193291" y="386180"/>
                </a:lnTo>
                <a:lnTo>
                  <a:pt x="1209572" y="388958"/>
                </a:lnTo>
                <a:lnTo>
                  <a:pt x="1225853" y="392134"/>
                </a:lnTo>
                <a:lnTo>
                  <a:pt x="1241737" y="395310"/>
                </a:lnTo>
                <a:lnTo>
                  <a:pt x="1257621" y="399279"/>
                </a:lnTo>
                <a:lnTo>
                  <a:pt x="1273505" y="403249"/>
                </a:lnTo>
                <a:lnTo>
                  <a:pt x="1289389" y="407218"/>
                </a:lnTo>
                <a:lnTo>
                  <a:pt x="1304876" y="411982"/>
                </a:lnTo>
                <a:lnTo>
                  <a:pt x="1370398" y="304805"/>
                </a:lnTo>
                <a:lnTo>
                  <a:pt x="1611439" y="417142"/>
                </a:lnTo>
                <a:lnTo>
                  <a:pt x="1570140" y="539800"/>
                </a:lnTo>
                <a:lnTo>
                  <a:pt x="1592775" y="555678"/>
                </a:lnTo>
                <a:lnTo>
                  <a:pt x="1614615" y="572747"/>
                </a:lnTo>
                <a:lnTo>
                  <a:pt x="1636059" y="589815"/>
                </a:lnTo>
                <a:lnTo>
                  <a:pt x="1656708" y="608075"/>
                </a:lnTo>
                <a:lnTo>
                  <a:pt x="1676960" y="626732"/>
                </a:lnTo>
                <a:lnTo>
                  <a:pt x="1696815" y="645389"/>
                </a:lnTo>
                <a:lnTo>
                  <a:pt x="1715876" y="665236"/>
                </a:lnTo>
                <a:lnTo>
                  <a:pt x="1734540" y="685481"/>
                </a:lnTo>
                <a:lnTo>
                  <a:pt x="1752410" y="706519"/>
                </a:lnTo>
                <a:lnTo>
                  <a:pt x="1769882" y="728351"/>
                </a:lnTo>
                <a:lnTo>
                  <a:pt x="1786560" y="750184"/>
                </a:lnTo>
                <a:lnTo>
                  <a:pt x="1802841" y="772413"/>
                </a:lnTo>
                <a:lnTo>
                  <a:pt x="1818329" y="795436"/>
                </a:lnTo>
                <a:lnTo>
                  <a:pt x="1832624" y="818856"/>
                </a:lnTo>
                <a:lnTo>
                  <a:pt x="1846920" y="842673"/>
                </a:lnTo>
                <a:lnTo>
                  <a:pt x="1860024" y="866887"/>
                </a:lnTo>
                <a:lnTo>
                  <a:pt x="1994642" y="834337"/>
                </a:lnTo>
                <a:lnTo>
                  <a:pt x="2085975" y="1084019"/>
                </a:lnTo>
                <a:lnTo>
                  <a:pt x="1954931" y="1149516"/>
                </a:lnTo>
                <a:lnTo>
                  <a:pt x="1958108" y="1167776"/>
                </a:lnTo>
                <a:lnTo>
                  <a:pt x="1960491" y="1185638"/>
                </a:lnTo>
                <a:lnTo>
                  <a:pt x="1962476" y="1204295"/>
                </a:lnTo>
                <a:lnTo>
                  <a:pt x="1964462" y="1222952"/>
                </a:lnTo>
                <a:lnTo>
                  <a:pt x="1965653" y="1241212"/>
                </a:lnTo>
                <a:lnTo>
                  <a:pt x="1966447" y="1259868"/>
                </a:lnTo>
                <a:lnTo>
                  <a:pt x="1967242" y="1278922"/>
                </a:lnTo>
                <a:lnTo>
                  <a:pt x="1967242" y="1297975"/>
                </a:lnTo>
                <a:lnTo>
                  <a:pt x="1967242" y="1315441"/>
                </a:lnTo>
                <a:lnTo>
                  <a:pt x="1966845" y="1332907"/>
                </a:lnTo>
                <a:lnTo>
                  <a:pt x="1966050" y="1349976"/>
                </a:lnTo>
                <a:lnTo>
                  <a:pt x="1964859" y="1367839"/>
                </a:lnTo>
                <a:lnTo>
                  <a:pt x="1962873" y="1385305"/>
                </a:lnTo>
                <a:lnTo>
                  <a:pt x="1961285" y="1401977"/>
                </a:lnTo>
                <a:lnTo>
                  <a:pt x="1959300" y="1419442"/>
                </a:lnTo>
                <a:lnTo>
                  <a:pt x="1957314" y="1436114"/>
                </a:lnTo>
                <a:lnTo>
                  <a:pt x="1954137" y="1453183"/>
                </a:lnTo>
                <a:lnTo>
                  <a:pt x="1951357" y="1469855"/>
                </a:lnTo>
                <a:lnTo>
                  <a:pt x="1947784" y="1486527"/>
                </a:lnTo>
                <a:lnTo>
                  <a:pt x="1944210" y="1503199"/>
                </a:lnTo>
                <a:lnTo>
                  <a:pt x="1940239" y="1519871"/>
                </a:lnTo>
                <a:lnTo>
                  <a:pt x="1935871" y="1535749"/>
                </a:lnTo>
                <a:lnTo>
                  <a:pt x="1931899" y="1552024"/>
                </a:lnTo>
                <a:lnTo>
                  <a:pt x="1926737" y="1568299"/>
                </a:lnTo>
                <a:lnTo>
                  <a:pt x="2061355" y="1650468"/>
                </a:lnTo>
                <a:lnTo>
                  <a:pt x="1949372" y="1891020"/>
                </a:lnTo>
                <a:lnTo>
                  <a:pt x="1791723" y="1838623"/>
                </a:lnTo>
                <a:lnTo>
                  <a:pt x="1776633" y="1859264"/>
                </a:lnTo>
                <a:lnTo>
                  <a:pt x="1761146" y="1879112"/>
                </a:lnTo>
                <a:lnTo>
                  <a:pt x="1744468" y="1898165"/>
                </a:lnTo>
                <a:lnTo>
                  <a:pt x="1728186" y="1917219"/>
                </a:lnTo>
                <a:lnTo>
                  <a:pt x="1710714" y="1935876"/>
                </a:lnTo>
                <a:lnTo>
                  <a:pt x="1693241" y="1954135"/>
                </a:lnTo>
                <a:lnTo>
                  <a:pt x="1674975" y="1971204"/>
                </a:lnTo>
                <a:lnTo>
                  <a:pt x="1655914" y="1988670"/>
                </a:lnTo>
                <a:lnTo>
                  <a:pt x="1636853" y="2004945"/>
                </a:lnTo>
                <a:lnTo>
                  <a:pt x="1616998" y="2021220"/>
                </a:lnTo>
                <a:lnTo>
                  <a:pt x="1597143" y="2036701"/>
                </a:lnTo>
                <a:lnTo>
                  <a:pt x="1576494" y="2051388"/>
                </a:lnTo>
                <a:lnTo>
                  <a:pt x="1555844" y="2066075"/>
                </a:lnTo>
                <a:lnTo>
                  <a:pt x="1534401" y="2079572"/>
                </a:lnTo>
                <a:lnTo>
                  <a:pt x="1512957" y="2093068"/>
                </a:lnTo>
                <a:lnTo>
                  <a:pt x="1491117" y="2105770"/>
                </a:lnTo>
                <a:lnTo>
                  <a:pt x="1531621" y="2274474"/>
                </a:lnTo>
                <a:lnTo>
                  <a:pt x="1281844" y="2365376"/>
                </a:lnTo>
                <a:lnTo>
                  <a:pt x="1202821" y="2207787"/>
                </a:lnTo>
                <a:lnTo>
                  <a:pt x="1183363" y="2210962"/>
                </a:lnTo>
                <a:lnTo>
                  <a:pt x="1163508" y="2213741"/>
                </a:lnTo>
                <a:lnTo>
                  <a:pt x="1144050" y="2216123"/>
                </a:lnTo>
                <a:lnTo>
                  <a:pt x="1124195" y="2218504"/>
                </a:lnTo>
                <a:lnTo>
                  <a:pt x="1103943" y="2219695"/>
                </a:lnTo>
                <a:lnTo>
                  <a:pt x="1083690" y="2220886"/>
                </a:lnTo>
                <a:lnTo>
                  <a:pt x="1063438" y="2221680"/>
                </a:lnTo>
                <a:lnTo>
                  <a:pt x="1043186" y="2221680"/>
                </a:lnTo>
                <a:lnTo>
                  <a:pt x="1013007" y="2221283"/>
                </a:lnTo>
                <a:lnTo>
                  <a:pt x="983224" y="2220092"/>
                </a:lnTo>
                <a:lnTo>
                  <a:pt x="954235" y="2217711"/>
                </a:lnTo>
                <a:lnTo>
                  <a:pt x="924850" y="2214535"/>
                </a:lnTo>
                <a:lnTo>
                  <a:pt x="895862" y="2210565"/>
                </a:lnTo>
                <a:lnTo>
                  <a:pt x="867270" y="2205405"/>
                </a:lnTo>
                <a:lnTo>
                  <a:pt x="839076" y="2199451"/>
                </a:lnTo>
                <a:lnTo>
                  <a:pt x="810882" y="2192703"/>
                </a:lnTo>
                <a:lnTo>
                  <a:pt x="715180" y="2341162"/>
                </a:lnTo>
                <a:lnTo>
                  <a:pt x="474536" y="2229222"/>
                </a:lnTo>
                <a:lnTo>
                  <a:pt x="524968" y="2062900"/>
                </a:lnTo>
                <a:lnTo>
                  <a:pt x="504716" y="2049006"/>
                </a:lnTo>
                <a:lnTo>
                  <a:pt x="484464" y="2033525"/>
                </a:lnTo>
                <a:lnTo>
                  <a:pt x="465006" y="2018441"/>
                </a:lnTo>
                <a:lnTo>
                  <a:pt x="445945" y="2002960"/>
                </a:lnTo>
                <a:lnTo>
                  <a:pt x="427281" y="1986288"/>
                </a:lnTo>
                <a:lnTo>
                  <a:pt x="408617" y="1969616"/>
                </a:lnTo>
                <a:lnTo>
                  <a:pt x="390748" y="1952151"/>
                </a:lnTo>
                <a:lnTo>
                  <a:pt x="373672" y="1934685"/>
                </a:lnTo>
                <a:lnTo>
                  <a:pt x="356597" y="1916028"/>
                </a:lnTo>
                <a:lnTo>
                  <a:pt x="340316" y="1897371"/>
                </a:lnTo>
                <a:lnTo>
                  <a:pt x="324432" y="1878715"/>
                </a:lnTo>
                <a:lnTo>
                  <a:pt x="308548" y="1858867"/>
                </a:lnTo>
                <a:lnTo>
                  <a:pt x="293855" y="1839020"/>
                </a:lnTo>
                <a:lnTo>
                  <a:pt x="279559" y="1818775"/>
                </a:lnTo>
                <a:lnTo>
                  <a:pt x="265661" y="1797737"/>
                </a:lnTo>
                <a:lnTo>
                  <a:pt x="252556" y="1776301"/>
                </a:lnTo>
                <a:lnTo>
                  <a:pt x="91333" y="1811630"/>
                </a:lnTo>
                <a:lnTo>
                  <a:pt x="0" y="1562345"/>
                </a:lnTo>
                <a:lnTo>
                  <a:pt x="138191" y="1488512"/>
                </a:lnTo>
                <a:lnTo>
                  <a:pt x="133426" y="1465092"/>
                </a:lnTo>
                <a:lnTo>
                  <a:pt x="129852" y="1441672"/>
                </a:lnTo>
                <a:lnTo>
                  <a:pt x="126278" y="1418251"/>
                </a:lnTo>
                <a:lnTo>
                  <a:pt x="123498" y="1394434"/>
                </a:lnTo>
                <a:lnTo>
                  <a:pt x="121513" y="1370220"/>
                </a:lnTo>
                <a:lnTo>
                  <a:pt x="119527" y="1346403"/>
                </a:lnTo>
                <a:lnTo>
                  <a:pt x="118733" y="1322189"/>
                </a:lnTo>
                <a:lnTo>
                  <a:pt x="118336" y="1297975"/>
                </a:lnTo>
                <a:lnTo>
                  <a:pt x="118733" y="1269395"/>
                </a:lnTo>
                <a:lnTo>
                  <a:pt x="119924" y="1240418"/>
                </a:lnTo>
                <a:lnTo>
                  <a:pt x="122704" y="1211837"/>
                </a:lnTo>
                <a:lnTo>
                  <a:pt x="125484" y="1184051"/>
                </a:lnTo>
                <a:lnTo>
                  <a:pt x="129455" y="1155867"/>
                </a:lnTo>
                <a:lnTo>
                  <a:pt x="134220" y="1128478"/>
                </a:lnTo>
                <a:lnTo>
                  <a:pt x="139780" y="1101088"/>
                </a:lnTo>
                <a:lnTo>
                  <a:pt x="146133" y="1074095"/>
                </a:lnTo>
                <a:lnTo>
                  <a:pt x="24223" y="995896"/>
                </a:lnTo>
                <a:lnTo>
                  <a:pt x="136603" y="755344"/>
                </a:lnTo>
                <a:lnTo>
                  <a:pt x="268043" y="794642"/>
                </a:lnTo>
                <a:lnTo>
                  <a:pt x="283530" y="772016"/>
                </a:lnTo>
                <a:lnTo>
                  <a:pt x="299017" y="750184"/>
                </a:lnTo>
                <a:lnTo>
                  <a:pt x="315696" y="728351"/>
                </a:lnTo>
                <a:lnTo>
                  <a:pt x="332771" y="707313"/>
                </a:lnTo>
                <a:lnTo>
                  <a:pt x="350243" y="686274"/>
                </a:lnTo>
                <a:lnTo>
                  <a:pt x="368907" y="666824"/>
                </a:lnTo>
                <a:lnTo>
                  <a:pt x="387571" y="646976"/>
                </a:lnTo>
                <a:lnTo>
                  <a:pt x="407426" y="627923"/>
                </a:lnTo>
                <a:lnTo>
                  <a:pt x="427281" y="609266"/>
                </a:lnTo>
                <a:lnTo>
                  <a:pt x="447930" y="591403"/>
                </a:lnTo>
                <a:lnTo>
                  <a:pt x="468977" y="574334"/>
                </a:lnTo>
                <a:lnTo>
                  <a:pt x="490420" y="557662"/>
                </a:lnTo>
                <a:lnTo>
                  <a:pt x="512261" y="541784"/>
                </a:lnTo>
                <a:lnTo>
                  <a:pt x="535293" y="526303"/>
                </a:lnTo>
                <a:lnTo>
                  <a:pt x="557928" y="511616"/>
                </a:lnTo>
                <a:lnTo>
                  <a:pt x="581754" y="497723"/>
                </a:lnTo>
                <a:lnTo>
                  <a:pt x="554354" y="371890"/>
                </a:lnTo>
                <a:lnTo>
                  <a:pt x="803734" y="280988"/>
                </a:lnTo>
                <a:close/>
                <a:moveTo>
                  <a:pt x="2013752" y="186531"/>
                </a:moveTo>
                <a:lnTo>
                  <a:pt x="2001871" y="186928"/>
                </a:lnTo>
                <a:lnTo>
                  <a:pt x="1989594" y="188119"/>
                </a:lnTo>
                <a:lnTo>
                  <a:pt x="1978109" y="190103"/>
                </a:lnTo>
                <a:lnTo>
                  <a:pt x="1966624" y="192881"/>
                </a:lnTo>
                <a:lnTo>
                  <a:pt x="1955139" y="196453"/>
                </a:lnTo>
                <a:lnTo>
                  <a:pt x="1944050" y="200819"/>
                </a:lnTo>
                <a:lnTo>
                  <a:pt x="1932962" y="205978"/>
                </a:lnTo>
                <a:lnTo>
                  <a:pt x="1922269" y="211534"/>
                </a:lnTo>
                <a:lnTo>
                  <a:pt x="1914348" y="216297"/>
                </a:lnTo>
                <a:lnTo>
                  <a:pt x="1906823" y="221853"/>
                </a:lnTo>
                <a:lnTo>
                  <a:pt x="1899695" y="227409"/>
                </a:lnTo>
                <a:lnTo>
                  <a:pt x="1892962" y="233363"/>
                </a:lnTo>
                <a:lnTo>
                  <a:pt x="1886230" y="239713"/>
                </a:lnTo>
                <a:lnTo>
                  <a:pt x="1880289" y="246063"/>
                </a:lnTo>
                <a:lnTo>
                  <a:pt x="1874349" y="252809"/>
                </a:lnTo>
                <a:lnTo>
                  <a:pt x="1869200" y="259953"/>
                </a:lnTo>
                <a:lnTo>
                  <a:pt x="1864052" y="267097"/>
                </a:lnTo>
                <a:lnTo>
                  <a:pt x="1859300" y="274241"/>
                </a:lnTo>
                <a:lnTo>
                  <a:pt x="1855339" y="281781"/>
                </a:lnTo>
                <a:lnTo>
                  <a:pt x="1850983" y="289719"/>
                </a:lnTo>
                <a:lnTo>
                  <a:pt x="1847419" y="297656"/>
                </a:lnTo>
                <a:lnTo>
                  <a:pt x="1844646" y="305594"/>
                </a:lnTo>
                <a:lnTo>
                  <a:pt x="1841874" y="313928"/>
                </a:lnTo>
                <a:lnTo>
                  <a:pt x="1839102" y="322263"/>
                </a:lnTo>
                <a:lnTo>
                  <a:pt x="1837518" y="330597"/>
                </a:lnTo>
                <a:lnTo>
                  <a:pt x="1835934" y="339328"/>
                </a:lnTo>
                <a:lnTo>
                  <a:pt x="1834350" y="348059"/>
                </a:lnTo>
                <a:lnTo>
                  <a:pt x="1833557" y="356791"/>
                </a:lnTo>
                <a:lnTo>
                  <a:pt x="1833557" y="365125"/>
                </a:lnTo>
                <a:lnTo>
                  <a:pt x="1833557" y="373856"/>
                </a:lnTo>
                <a:lnTo>
                  <a:pt x="1833953" y="382984"/>
                </a:lnTo>
                <a:lnTo>
                  <a:pt x="1835142" y="391716"/>
                </a:lnTo>
                <a:lnTo>
                  <a:pt x="1836726" y="400050"/>
                </a:lnTo>
                <a:lnTo>
                  <a:pt x="1838310" y="409178"/>
                </a:lnTo>
                <a:lnTo>
                  <a:pt x="1840290" y="417513"/>
                </a:lnTo>
                <a:lnTo>
                  <a:pt x="1843458" y="426244"/>
                </a:lnTo>
                <a:lnTo>
                  <a:pt x="1846230" y="434578"/>
                </a:lnTo>
                <a:lnTo>
                  <a:pt x="1850191" y="443310"/>
                </a:lnTo>
                <a:lnTo>
                  <a:pt x="1853755" y="451247"/>
                </a:lnTo>
                <a:lnTo>
                  <a:pt x="1858507" y="459581"/>
                </a:lnTo>
                <a:lnTo>
                  <a:pt x="1864844" y="469503"/>
                </a:lnTo>
                <a:lnTo>
                  <a:pt x="1871973" y="479028"/>
                </a:lnTo>
                <a:lnTo>
                  <a:pt x="1879497" y="488156"/>
                </a:lnTo>
                <a:lnTo>
                  <a:pt x="1887418" y="496888"/>
                </a:lnTo>
                <a:lnTo>
                  <a:pt x="1896527" y="504428"/>
                </a:lnTo>
                <a:lnTo>
                  <a:pt x="1905239" y="511969"/>
                </a:lnTo>
                <a:lnTo>
                  <a:pt x="1914744" y="518716"/>
                </a:lnTo>
                <a:lnTo>
                  <a:pt x="1924645" y="524669"/>
                </a:lnTo>
                <a:lnTo>
                  <a:pt x="1934942" y="529828"/>
                </a:lnTo>
                <a:lnTo>
                  <a:pt x="1945635" y="534988"/>
                </a:lnTo>
                <a:lnTo>
                  <a:pt x="1956723" y="538956"/>
                </a:lnTo>
                <a:lnTo>
                  <a:pt x="1967812" y="542131"/>
                </a:lnTo>
                <a:lnTo>
                  <a:pt x="1979297" y="545306"/>
                </a:lnTo>
                <a:lnTo>
                  <a:pt x="1990782" y="546894"/>
                </a:lnTo>
                <a:lnTo>
                  <a:pt x="2002267" y="548085"/>
                </a:lnTo>
                <a:lnTo>
                  <a:pt x="2014544" y="548481"/>
                </a:lnTo>
                <a:lnTo>
                  <a:pt x="2026425" y="548085"/>
                </a:lnTo>
                <a:lnTo>
                  <a:pt x="2038306" y="546894"/>
                </a:lnTo>
                <a:lnTo>
                  <a:pt x="2049791" y="544910"/>
                </a:lnTo>
                <a:lnTo>
                  <a:pt x="2061672" y="542131"/>
                </a:lnTo>
                <a:lnTo>
                  <a:pt x="2073157" y="538560"/>
                </a:lnTo>
                <a:lnTo>
                  <a:pt x="2084246" y="534194"/>
                </a:lnTo>
                <a:lnTo>
                  <a:pt x="2095335" y="529035"/>
                </a:lnTo>
                <a:lnTo>
                  <a:pt x="2106028" y="523081"/>
                </a:lnTo>
                <a:lnTo>
                  <a:pt x="2113552" y="518716"/>
                </a:lnTo>
                <a:lnTo>
                  <a:pt x="2121077" y="513556"/>
                </a:lnTo>
                <a:lnTo>
                  <a:pt x="2128206" y="508000"/>
                </a:lnTo>
                <a:lnTo>
                  <a:pt x="2134938" y="502047"/>
                </a:lnTo>
                <a:lnTo>
                  <a:pt x="2141275" y="496491"/>
                </a:lnTo>
                <a:lnTo>
                  <a:pt x="2147215" y="490141"/>
                </a:lnTo>
                <a:lnTo>
                  <a:pt x="2153156" y="483394"/>
                </a:lnTo>
                <a:lnTo>
                  <a:pt x="2158304" y="476647"/>
                </a:lnTo>
                <a:lnTo>
                  <a:pt x="2163452" y="469503"/>
                </a:lnTo>
                <a:lnTo>
                  <a:pt x="2168601" y="461566"/>
                </a:lnTo>
                <a:lnTo>
                  <a:pt x="2172957" y="454025"/>
                </a:lnTo>
                <a:lnTo>
                  <a:pt x="2176917" y="446485"/>
                </a:lnTo>
                <a:lnTo>
                  <a:pt x="2180482" y="438150"/>
                </a:lnTo>
                <a:lnTo>
                  <a:pt x="2183650" y="430213"/>
                </a:lnTo>
                <a:lnTo>
                  <a:pt x="2186818" y="421481"/>
                </a:lnTo>
                <a:lnTo>
                  <a:pt x="2189195" y="412750"/>
                </a:lnTo>
                <a:lnTo>
                  <a:pt x="2191175" y="404019"/>
                </a:lnTo>
                <a:lnTo>
                  <a:pt x="2192363" y="395288"/>
                </a:lnTo>
                <a:lnTo>
                  <a:pt x="2193947" y="386159"/>
                </a:lnTo>
                <a:lnTo>
                  <a:pt x="2194739" y="377428"/>
                </a:lnTo>
                <a:lnTo>
                  <a:pt x="2194739" y="368697"/>
                </a:lnTo>
                <a:lnTo>
                  <a:pt x="2194739" y="359569"/>
                </a:lnTo>
                <a:lnTo>
                  <a:pt x="2194343" y="351234"/>
                </a:lnTo>
                <a:lnTo>
                  <a:pt x="2192759" y="342503"/>
                </a:lnTo>
                <a:lnTo>
                  <a:pt x="2191571" y="333375"/>
                </a:lnTo>
                <a:lnTo>
                  <a:pt x="2189591" y="325041"/>
                </a:lnTo>
                <a:lnTo>
                  <a:pt x="2187610" y="316706"/>
                </a:lnTo>
                <a:lnTo>
                  <a:pt x="2184838" y="308372"/>
                </a:lnTo>
                <a:lnTo>
                  <a:pt x="2181670" y="299641"/>
                </a:lnTo>
                <a:lnTo>
                  <a:pt x="2178106" y="291703"/>
                </a:lnTo>
                <a:lnTo>
                  <a:pt x="2174145" y="283766"/>
                </a:lnTo>
                <a:lnTo>
                  <a:pt x="2169789" y="275828"/>
                </a:lnTo>
                <a:lnTo>
                  <a:pt x="2163452" y="265509"/>
                </a:lnTo>
                <a:lnTo>
                  <a:pt x="2156324" y="255984"/>
                </a:lnTo>
                <a:lnTo>
                  <a:pt x="2148799" y="247253"/>
                </a:lnTo>
                <a:lnTo>
                  <a:pt x="2140879" y="238522"/>
                </a:lnTo>
                <a:lnTo>
                  <a:pt x="2131770" y="230584"/>
                </a:lnTo>
                <a:lnTo>
                  <a:pt x="2123057" y="223441"/>
                </a:lnTo>
                <a:lnTo>
                  <a:pt x="2113552" y="216694"/>
                </a:lnTo>
                <a:lnTo>
                  <a:pt x="2103255" y="210344"/>
                </a:lnTo>
                <a:lnTo>
                  <a:pt x="2093355" y="204788"/>
                </a:lnTo>
                <a:lnTo>
                  <a:pt x="2082662" y="200422"/>
                </a:lnTo>
                <a:lnTo>
                  <a:pt x="2071969" y="196056"/>
                </a:lnTo>
                <a:lnTo>
                  <a:pt x="2060484" y="192881"/>
                </a:lnTo>
                <a:lnTo>
                  <a:pt x="2048999" y="190103"/>
                </a:lnTo>
                <a:lnTo>
                  <a:pt x="2037118" y="188119"/>
                </a:lnTo>
                <a:lnTo>
                  <a:pt x="2025633" y="186928"/>
                </a:lnTo>
                <a:lnTo>
                  <a:pt x="2013752" y="186531"/>
                </a:lnTo>
                <a:close/>
                <a:moveTo>
                  <a:pt x="2066028" y="0"/>
                </a:moveTo>
                <a:lnTo>
                  <a:pt x="2156324" y="23812"/>
                </a:lnTo>
                <a:lnTo>
                  <a:pt x="2146027" y="100013"/>
                </a:lnTo>
                <a:lnTo>
                  <a:pt x="2140916" y="118533"/>
                </a:lnTo>
                <a:lnTo>
                  <a:pt x="2134542" y="115094"/>
                </a:lnTo>
                <a:lnTo>
                  <a:pt x="2132671" y="114357"/>
                </a:lnTo>
                <a:lnTo>
                  <a:pt x="2132562" y="114300"/>
                </a:lnTo>
                <a:lnTo>
                  <a:pt x="2123453" y="110728"/>
                </a:lnTo>
                <a:lnTo>
                  <a:pt x="2132671" y="114357"/>
                </a:lnTo>
                <a:lnTo>
                  <a:pt x="2140879" y="118666"/>
                </a:lnTo>
                <a:lnTo>
                  <a:pt x="2140916" y="118533"/>
                </a:lnTo>
                <a:lnTo>
                  <a:pt x="2144839" y="120650"/>
                </a:lnTo>
                <a:lnTo>
                  <a:pt x="2153552" y="125413"/>
                </a:lnTo>
                <a:lnTo>
                  <a:pt x="2167413" y="133747"/>
                </a:lnTo>
                <a:lnTo>
                  <a:pt x="2174145" y="138113"/>
                </a:lnTo>
                <a:lnTo>
                  <a:pt x="2180878" y="142875"/>
                </a:lnTo>
                <a:lnTo>
                  <a:pt x="2181274" y="143272"/>
                </a:lnTo>
                <a:lnTo>
                  <a:pt x="2187610" y="148034"/>
                </a:lnTo>
                <a:lnTo>
                  <a:pt x="2193947" y="153194"/>
                </a:lnTo>
                <a:lnTo>
                  <a:pt x="2205432" y="163909"/>
                </a:lnTo>
                <a:lnTo>
                  <a:pt x="2212560" y="170656"/>
                </a:lnTo>
                <a:lnTo>
                  <a:pt x="2221273" y="180181"/>
                </a:lnTo>
                <a:lnTo>
                  <a:pt x="2226433" y="186128"/>
                </a:lnTo>
                <a:lnTo>
                  <a:pt x="2226422" y="186134"/>
                </a:lnTo>
                <a:lnTo>
                  <a:pt x="2229194" y="189309"/>
                </a:lnTo>
                <a:lnTo>
                  <a:pt x="2226433" y="186128"/>
                </a:lnTo>
                <a:lnTo>
                  <a:pt x="2244639" y="175419"/>
                </a:lnTo>
                <a:lnTo>
                  <a:pt x="2315925" y="143669"/>
                </a:lnTo>
                <a:lnTo>
                  <a:pt x="2363053" y="224234"/>
                </a:lnTo>
                <a:lnTo>
                  <a:pt x="2302064" y="270669"/>
                </a:lnTo>
                <a:lnTo>
                  <a:pt x="2280282" y="283369"/>
                </a:lnTo>
                <a:lnTo>
                  <a:pt x="2284242" y="296466"/>
                </a:lnTo>
                <a:lnTo>
                  <a:pt x="2287015" y="309166"/>
                </a:lnTo>
                <a:lnTo>
                  <a:pt x="2289787" y="322263"/>
                </a:lnTo>
                <a:lnTo>
                  <a:pt x="2291371" y="335359"/>
                </a:lnTo>
                <a:lnTo>
                  <a:pt x="2292559" y="348456"/>
                </a:lnTo>
                <a:lnTo>
                  <a:pt x="2293351" y="361553"/>
                </a:lnTo>
                <a:lnTo>
                  <a:pt x="2293351" y="374650"/>
                </a:lnTo>
                <a:lnTo>
                  <a:pt x="2292559" y="387350"/>
                </a:lnTo>
                <a:lnTo>
                  <a:pt x="2318301" y="394097"/>
                </a:lnTo>
                <a:lnTo>
                  <a:pt x="2390775" y="422275"/>
                </a:lnTo>
                <a:lnTo>
                  <a:pt x="2367409" y="512763"/>
                </a:lnTo>
                <a:lnTo>
                  <a:pt x="2291371" y="502047"/>
                </a:lnTo>
                <a:lnTo>
                  <a:pt x="2262857" y="494506"/>
                </a:lnTo>
                <a:lnTo>
                  <a:pt x="2256916" y="506016"/>
                </a:lnTo>
                <a:lnTo>
                  <a:pt x="2250183" y="517128"/>
                </a:lnTo>
                <a:lnTo>
                  <a:pt x="2243451" y="527447"/>
                </a:lnTo>
                <a:lnTo>
                  <a:pt x="2235926" y="537766"/>
                </a:lnTo>
                <a:lnTo>
                  <a:pt x="2228006" y="547688"/>
                </a:lnTo>
                <a:lnTo>
                  <a:pt x="2219293" y="557610"/>
                </a:lnTo>
                <a:lnTo>
                  <a:pt x="2210580" y="566738"/>
                </a:lnTo>
                <a:lnTo>
                  <a:pt x="2201075" y="575469"/>
                </a:lnTo>
                <a:lnTo>
                  <a:pt x="2216125" y="601266"/>
                </a:lnTo>
                <a:lnTo>
                  <a:pt x="2247807" y="671910"/>
                </a:lnTo>
                <a:lnTo>
                  <a:pt x="2167413" y="719932"/>
                </a:lnTo>
                <a:lnTo>
                  <a:pt x="2121077" y="658416"/>
                </a:lnTo>
                <a:lnTo>
                  <a:pt x="2105632" y="632222"/>
                </a:lnTo>
                <a:lnTo>
                  <a:pt x="2110780" y="629841"/>
                </a:lnTo>
                <a:lnTo>
                  <a:pt x="2115929" y="627857"/>
                </a:lnTo>
                <a:lnTo>
                  <a:pt x="2104048" y="632222"/>
                </a:lnTo>
                <a:lnTo>
                  <a:pt x="2092563" y="635794"/>
                </a:lnTo>
                <a:lnTo>
                  <a:pt x="2083058" y="638969"/>
                </a:lnTo>
                <a:lnTo>
                  <a:pt x="2067217" y="642541"/>
                </a:lnTo>
                <a:lnTo>
                  <a:pt x="2059296" y="643732"/>
                </a:lnTo>
                <a:lnTo>
                  <a:pt x="2050583" y="644922"/>
                </a:lnTo>
                <a:lnTo>
                  <a:pt x="2048999" y="644922"/>
                </a:lnTo>
                <a:lnTo>
                  <a:pt x="2033554" y="646907"/>
                </a:lnTo>
                <a:lnTo>
                  <a:pt x="2018505" y="647303"/>
                </a:lnTo>
                <a:lnTo>
                  <a:pt x="2014544" y="647700"/>
                </a:lnTo>
                <a:lnTo>
                  <a:pt x="2008208" y="647303"/>
                </a:lnTo>
                <a:lnTo>
                  <a:pt x="2002617" y="647117"/>
                </a:lnTo>
                <a:lnTo>
                  <a:pt x="1994743" y="646510"/>
                </a:lnTo>
                <a:lnTo>
                  <a:pt x="1984842" y="645716"/>
                </a:lnTo>
                <a:lnTo>
                  <a:pt x="1996327" y="646907"/>
                </a:lnTo>
                <a:lnTo>
                  <a:pt x="2002617" y="647117"/>
                </a:lnTo>
                <a:lnTo>
                  <a:pt x="2005039" y="647303"/>
                </a:lnTo>
                <a:lnTo>
                  <a:pt x="1994347" y="687785"/>
                </a:lnTo>
                <a:lnTo>
                  <a:pt x="1970189" y="747713"/>
                </a:lnTo>
                <a:lnTo>
                  <a:pt x="1879497" y="724297"/>
                </a:lnTo>
                <a:lnTo>
                  <a:pt x="1886230" y="662385"/>
                </a:lnTo>
                <a:lnTo>
                  <a:pt x="1896923" y="621507"/>
                </a:lnTo>
                <a:lnTo>
                  <a:pt x="1904447" y="625078"/>
                </a:lnTo>
                <a:lnTo>
                  <a:pt x="1893754" y="619919"/>
                </a:lnTo>
                <a:lnTo>
                  <a:pt x="1883061" y="614363"/>
                </a:lnTo>
                <a:lnTo>
                  <a:pt x="1874745" y="609997"/>
                </a:lnTo>
                <a:lnTo>
                  <a:pt x="1860884" y="601663"/>
                </a:lnTo>
                <a:lnTo>
                  <a:pt x="1854151" y="596900"/>
                </a:lnTo>
                <a:lnTo>
                  <a:pt x="1847419" y="592535"/>
                </a:lnTo>
                <a:lnTo>
                  <a:pt x="1846627" y="592138"/>
                </a:lnTo>
                <a:lnTo>
                  <a:pt x="1840290" y="586978"/>
                </a:lnTo>
                <a:lnTo>
                  <a:pt x="1834350" y="581819"/>
                </a:lnTo>
                <a:lnTo>
                  <a:pt x="1822469" y="571103"/>
                </a:lnTo>
                <a:lnTo>
                  <a:pt x="1815736" y="564356"/>
                </a:lnTo>
                <a:lnTo>
                  <a:pt x="1809516" y="557841"/>
                </a:lnTo>
                <a:lnTo>
                  <a:pt x="1805439" y="553244"/>
                </a:lnTo>
                <a:lnTo>
                  <a:pt x="1799103" y="545703"/>
                </a:lnTo>
                <a:lnTo>
                  <a:pt x="1807023" y="555228"/>
                </a:lnTo>
                <a:lnTo>
                  <a:pt x="1809516" y="557841"/>
                </a:lnTo>
                <a:lnTo>
                  <a:pt x="1811776" y="560388"/>
                </a:lnTo>
                <a:lnTo>
                  <a:pt x="1779697" y="579438"/>
                </a:lnTo>
                <a:lnTo>
                  <a:pt x="1720292" y="604044"/>
                </a:lnTo>
                <a:lnTo>
                  <a:pt x="1673164" y="523875"/>
                </a:lnTo>
                <a:lnTo>
                  <a:pt x="1721480" y="484585"/>
                </a:lnTo>
                <a:lnTo>
                  <a:pt x="1752767" y="465931"/>
                </a:lnTo>
                <a:lnTo>
                  <a:pt x="1748410" y="452835"/>
                </a:lnTo>
                <a:lnTo>
                  <a:pt x="1744450" y="439341"/>
                </a:lnTo>
                <a:lnTo>
                  <a:pt x="1741282" y="425847"/>
                </a:lnTo>
                <a:lnTo>
                  <a:pt x="1738510" y="412353"/>
                </a:lnTo>
                <a:lnTo>
                  <a:pt x="1736530" y="398860"/>
                </a:lnTo>
                <a:lnTo>
                  <a:pt x="1735737" y="385366"/>
                </a:lnTo>
                <a:lnTo>
                  <a:pt x="1734945" y="371475"/>
                </a:lnTo>
                <a:lnTo>
                  <a:pt x="1735341" y="357981"/>
                </a:lnTo>
                <a:lnTo>
                  <a:pt x="1704451" y="350441"/>
                </a:lnTo>
                <a:lnTo>
                  <a:pt x="1644650" y="325438"/>
                </a:lnTo>
                <a:lnTo>
                  <a:pt x="1668412" y="235347"/>
                </a:lnTo>
                <a:lnTo>
                  <a:pt x="1730193" y="242094"/>
                </a:lnTo>
                <a:lnTo>
                  <a:pt x="1760687" y="250031"/>
                </a:lnTo>
                <a:lnTo>
                  <a:pt x="1766628" y="237331"/>
                </a:lnTo>
                <a:lnTo>
                  <a:pt x="1773361" y="225028"/>
                </a:lnTo>
                <a:lnTo>
                  <a:pt x="1781281" y="213519"/>
                </a:lnTo>
                <a:lnTo>
                  <a:pt x="1789202" y="201613"/>
                </a:lnTo>
                <a:lnTo>
                  <a:pt x="1797915" y="190500"/>
                </a:lnTo>
                <a:lnTo>
                  <a:pt x="1807023" y="179784"/>
                </a:lnTo>
                <a:lnTo>
                  <a:pt x="1816924" y="169069"/>
                </a:lnTo>
                <a:lnTo>
                  <a:pt x="1827221" y="159544"/>
                </a:lnTo>
                <a:lnTo>
                  <a:pt x="1812964" y="135334"/>
                </a:lnTo>
                <a:lnTo>
                  <a:pt x="1788410" y="75406"/>
                </a:lnTo>
                <a:lnTo>
                  <a:pt x="1868804" y="27781"/>
                </a:lnTo>
                <a:lnTo>
                  <a:pt x="1907219" y="76994"/>
                </a:lnTo>
                <a:lnTo>
                  <a:pt x="1923061" y="102791"/>
                </a:lnTo>
                <a:lnTo>
                  <a:pt x="1917516" y="105172"/>
                </a:lnTo>
                <a:lnTo>
                  <a:pt x="1912368" y="107156"/>
                </a:lnTo>
                <a:lnTo>
                  <a:pt x="1924249" y="102791"/>
                </a:lnTo>
                <a:lnTo>
                  <a:pt x="1935734" y="99219"/>
                </a:lnTo>
                <a:lnTo>
                  <a:pt x="1945239" y="96044"/>
                </a:lnTo>
                <a:lnTo>
                  <a:pt x="1961080" y="92869"/>
                </a:lnTo>
                <a:lnTo>
                  <a:pt x="1969001" y="91281"/>
                </a:lnTo>
                <a:lnTo>
                  <a:pt x="1977317" y="89694"/>
                </a:lnTo>
                <a:lnTo>
                  <a:pt x="1979297" y="89694"/>
                </a:lnTo>
                <a:lnTo>
                  <a:pt x="1994347" y="88106"/>
                </a:lnTo>
                <a:lnTo>
                  <a:pt x="2009792" y="87709"/>
                </a:lnTo>
                <a:lnTo>
                  <a:pt x="2013752" y="87709"/>
                </a:lnTo>
                <a:lnTo>
                  <a:pt x="2019693" y="87709"/>
                </a:lnTo>
                <a:lnTo>
                  <a:pt x="2031970" y="88503"/>
                </a:lnTo>
                <a:lnTo>
                  <a:pt x="2043455" y="89297"/>
                </a:lnTo>
                <a:lnTo>
                  <a:pt x="2034346" y="88503"/>
                </a:lnTo>
                <a:lnTo>
                  <a:pt x="2038306" y="72628"/>
                </a:lnTo>
                <a:lnTo>
                  <a:pt x="2066028" y="0"/>
                </a:lnTo>
                <a:close/>
              </a:path>
            </a:pathLst>
          </a:custGeom>
          <a:solidFill>
            <a:schemeClr val="accent1"/>
          </a:solidFill>
          <a:ln w="9525">
            <a:noFill/>
          </a:ln>
        </p:spPr>
        <p:txBody>
          <a:bodyPr anchor="ctr" anchorCtr="0"/>
          <a:p>
            <a:pPr algn="ctr"/>
            <a:endParaRPr sz="10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38" name="KSO_Shape"/>
          <p:cNvSpPr/>
          <p:nvPr/>
        </p:nvSpPr>
        <p:spPr>
          <a:xfrm>
            <a:off x="4015626" y="3778250"/>
            <a:ext cx="347662" cy="404813"/>
          </a:xfrm>
          <a:custGeom>
            <a:avLst/>
            <a:gdLst>
              <a:gd name="txL" fmla="*/ 0 w 5822"/>
              <a:gd name="txT" fmla="*/ 0 h 6759"/>
              <a:gd name="txR" fmla="*/ 5822 w 5822"/>
              <a:gd name="txB" fmla="*/ 6759 h 6759"/>
            </a:gdLst>
            <a:ahLst/>
            <a:cxnLst>
              <a:cxn ang="0">
                <a:pos x="2147483646" y="2147483646"/>
              </a:cxn>
              <a:cxn ang="0">
                <a:pos x="2147483646" y="2147483646"/>
              </a:cxn>
              <a:cxn ang="0">
                <a:pos x="2147483646" y="2147483646"/>
              </a:cxn>
              <a:cxn ang="0">
                <a:pos x="2147483646" y="2147483646"/>
              </a:cxn>
              <a:cxn ang="0">
                <a:pos x="2147483646" y="2147483646"/>
              </a:cxn>
              <a:cxn ang="0">
                <a:pos x="2147483646" y="1253760573"/>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0"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5822" h="6759">
                <a:moveTo>
                  <a:pt x="0" y="6351"/>
                </a:moveTo>
                <a:lnTo>
                  <a:pt x="129" y="6351"/>
                </a:lnTo>
                <a:lnTo>
                  <a:pt x="129" y="3057"/>
                </a:lnTo>
                <a:lnTo>
                  <a:pt x="129" y="2914"/>
                </a:lnTo>
                <a:lnTo>
                  <a:pt x="266" y="2865"/>
                </a:lnTo>
                <a:lnTo>
                  <a:pt x="1775" y="2337"/>
                </a:lnTo>
                <a:lnTo>
                  <a:pt x="1775" y="1515"/>
                </a:lnTo>
                <a:lnTo>
                  <a:pt x="1775" y="1386"/>
                </a:lnTo>
                <a:lnTo>
                  <a:pt x="1892" y="1331"/>
                </a:lnTo>
                <a:lnTo>
                  <a:pt x="4422" y="137"/>
                </a:lnTo>
                <a:lnTo>
                  <a:pt x="4714" y="0"/>
                </a:lnTo>
                <a:lnTo>
                  <a:pt x="4714" y="56"/>
                </a:lnTo>
                <a:lnTo>
                  <a:pt x="5511" y="532"/>
                </a:lnTo>
                <a:lnTo>
                  <a:pt x="5511" y="6326"/>
                </a:lnTo>
                <a:lnTo>
                  <a:pt x="5822" y="6326"/>
                </a:lnTo>
                <a:lnTo>
                  <a:pt x="5822" y="6734"/>
                </a:lnTo>
                <a:lnTo>
                  <a:pt x="4510" y="6734"/>
                </a:lnTo>
                <a:lnTo>
                  <a:pt x="4305" y="6734"/>
                </a:lnTo>
                <a:lnTo>
                  <a:pt x="4305" y="6529"/>
                </a:lnTo>
                <a:lnTo>
                  <a:pt x="4305" y="643"/>
                </a:lnTo>
                <a:lnTo>
                  <a:pt x="2183" y="1644"/>
                </a:lnTo>
                <a:lnTo>
                  <a:pt x="2183" y="2194"/>
                </a:lnTo>
                <a:lnTo>
                  <a:pt x="2798" y="1979"/>
                </a:lnTo>
                <a:lnTo>
                  <a:pt x="3035" y="1895"/>
                </a:lnTo>
                <a:lnTo>
                  <a:pt x="3035" y="1889"/>
                </a:lnTo>
                <a:lnTo>
                  <a:pt x="3042" y="1892"/>
                </a:lnTo>
                <a:lnTo>
                  <a:pt x="3068" y="1884"/>
                </a:lnTo>
                <a:lnTo>
                  <a:pt x="3068" y="1909"/>
                </a:lnTo>
                <a:lnTo>
                  <a:pt x="3862" y="2381"/>
                </a:lnTo>
                <a:lnTo>
                  <a:pt x="3862" y="6313"/>
                </a:lnTo>
                <a:lnTo>
                  <a:pt x="4177" y="6313"/>
                </a:lnTo>
                <a:lnTo>
                  <a:pt x="4177" y="6722"/>
                </a:lnTo>
                <a:lnTo>
                  <a:pt x="2865" y="6722"/>
                </a:lnTo>
                <a:lnTo>
                  <a:pt x="2661" y="6722"/>
                </a:lnTo>
                <a:lnTo>
                  <a:pt x="2661" y="6517"/>
                </a:lnTo>
                <a:lnTo>
                  <a:pt x="2661" y="2458"/>
                </a:lnTo>
                <a:lnTo>
                  <a:pt x="538" y="3202"/>
                </a:lnTo>
                <a:lnTo>
                  <a:pt x="538" y="6556"/>
                </a:lnTo>
                <a:lnTo>
                  <a:pt x="538" y="6759"/>
                </a:lnTo>
                <a:lnTo>
                  <a:pt x="334" y="6759"/>
                </a:lnTo>
                <a:lnTo>
                  <a:pt x="0" y="6759"/>
                </a:lnTo>
                <a:lnTo>
                  <a:pt x="0" y="6351"/>
                </a:lnTo>
                <a:close/>
                <a:moveTo>
                  <a:pt x="776" y="6707"/>
                </a:moveTo>
                <a:lnTo>
                  <a:pt x="776" y="6707"/>
                </a:lnTo>
                <a:lnTo>
                  <a:pt x="1501" y="6707"/>
                </a:lnTo>
                <a:lnTo>
                  <a:pt x="2348" y="6707"/>
                </a:lnTo>
                <a:lnTo>
                  <a:pt x="2348" y="5989"/>
                </a:lnTo>
                <a:lnTo>
                  <a:pt x="1501" y="6044"/>
                </a:lnTo>
                <a:lnTo>
                  <a:pt x="776" y="6092"/>
                </a:lnTo>
                <a:lnTo>
                  <a:pt x="776" y="6707"/>
                </a:lnTo>
                <a:close/>
                <a:moveTo>
                  <a:pt x="776" y="4048"/>
                </a:moveTo>
                <a:lnTo>
                  <a:pt x="776" y="4048"/>
                </a:lnTo>
                <a:lnTo>
                  <a:pt x="1501" y="3842"/>
                </a:lnTo>
                <a:lnTo>
                  <a:pt x="2348" y="3604"/>
                </a:lnTo>
                <a:lnTo>
                  <a:pt x="2348" y="2883"/>
                </a:lnTo>
                <a:lnTo>
                  <a:pt x="1501" y="3178"/>
                </a:lnTo>
                <a:lnTo>
                  <a:pt x="776" y="3431"/>
                </a:lnTo>
                <a:lnTo>
                  <a:pt x="776" y="4048"/>
                </a:lnTo>
                <a:close/>
                <a:moveTo>
                  <a:pt x="776" y="4926"/>
                </a:moveTo>
                <a:lnTo>
                  <a:pt x="776" y="4926"/>
                </a:lnTo>
                <a:lnTo>
                  <a:pt x="1501" y="4788"/>
                </a:lnTo>
                <a:lnTo>
                  <a:pt x="2348" y="4628"/>
                </a:lnTo>
                <a:lnTo>
                  <a:pt x="2348" y="3909"/>
                </a:lnTo>
                <a:lnTo>
                  <a:pt x="1501" y="4124"/>
                </a:lnTo>
                <a:lnTo>
                  <a:pt x="776" y="4310"/>
                </a:lnTo>
                <a:lnTo>
                  <a:pt x="776" y="4926"/>
                </a:lnTo>
                <a:close/>
                <a:moveTo>
                  <a:pt x="776" y="5811"/>
                </a:moveTo>
                <a:lnTo>
                  <a:pt x="776" y="5811"/>
                </a:lnTo>
                <a:lnTo>
                  <a:pt x="1501" y="5741"/>
                </a:lnTo>
                <a:lnTo>
                  <a:pt x="2348" y="5661"/>
                </a:lnTo>
                <a:lnTo>
                  <a:pt x="2348" y="4942"/>
                </a:lnTo>
                <a:lnTo>
                  <a:pt x="1501" y="5078"/>
                </a:lnTo>
                <a:lnTo>
                  <a:pt x="776" y="5194"/>
                </a:lnTo>
                <a:lnTo>
                  <a:pt x="776" y="5811"/>
                </a:lnTo>
                <a:close/>
              </a:path>
            </a:pathLst>
          </a:custGeom>
          <a:solidFill>
            <a:schemeClr val="accent1"/>
          </a:solidFill>
          <a:ln w="9525">
            <a:noFill/>
          </a:ln>
        </p:spPr>
        <p:txBody>
          <a:bodyPr anchor="ctr" anchorCtr="0"/>
          <a:p>
            <a:pPr algn="ctr"/>
            <a:endParaRPr sz="10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39" name="KSO_Shape"/>
          <p:cNvSpPr/>
          <p:nvPr/>
        </p:nvSpPr>
        <p:spPr>
          <a:xfrm>
            <a:off x="4652213" y="1866900"/>
            <a:ext cx="469900" cy="406400"/>
          </a:xfrm>
          <a:custGeom>
            <a:avLst/>
            <a:gdLst>
              <a:gd name="txL" fmla="*/ 0 w 2301876"/>
              <a:gd name="txT" fmla="*/ 0 h 1941513"/>
              <a:gd name="txR" fmla="*/ 2301876 w 2301876"/>
              <a:gd name="txB" fmla="*/ 1941513 h 1941513"/>
            </a:gdLst>
            <a:ahLst/>
            <a:cxnLst>
              <a:cxn ang="0">
                <a:pos x="332222" y="1410232"/>
              </a:cxn>
              <a:cxn ang="0">
                <a:pos x="321717" y="1470415"/>
              </a:cxn>
              <a:cxn ang="0">
                <a:pos x="382384" y="1525343"/>
              </a:cxn>
              <a:cxn ang="0">
                <a:pos x="696485" y="1509573"/>
              </a:cxn>
              <a:cxn ang="0">
                <a:pos x="723010" y="1444398"/>
              </a:cxn>
              <a:cxn ang="0">
                <a:pos x="671273" y="1380797"/>
              </a:cxn>
              <a:cxn ang="0">
                <a:pos x="1348867" y="1247408"/>
              </a:cxn>
              <a:cxn ang="0">
                <a:pos x="1327043" y="1320445"/>
              </a:cxn>
              <a:cxn ang="0">
                <a:pos x="1593934" y="1356438"/>
              </a:cxn>
              <a:cxn ang="0">
                <a:pos x="1647838" y="1303105"/>
              </a:cxn>
              <a:cxn ang="0">
                <a:pos x="1606030" y="1239789"/>
              </a:cxn>
              <a:cxn ang="0">
                <a:pos x="1529191" y="516517"/>
              </a:cxn>
              <a:cxn ang="0">
                <a:pos x="1584982" y="576970"/>
              </a:cxn>
              <a:cxn ang="0">
                <a:pos x="1601035" y="667649"/>
              </a:cxn>
              <a:cxn ang="0">
                <a:pos x="1640510" y="716799"/>
              </a:cxn>
              <a:cxn ang="0">
                <a:pos x="1583140" y="840071"/>
              </a:cxn>
              <a:cxn ang="0">
                <a:pos x="1691827" y="916820"/>
              </a:cxn>
              <a:cxn ang="0">
                <a:pos x="1229710" y="1106063"/>
              </a:cxn>
              <a:cxn ang="0">
                <a:pos x="1284448" y="909460"/>
              </a:cxn>
              <a:cxn ang="0">
                <a:pos x="1396556" y="836654"/>
              </a:cxn>
              <a:cxn ang="0">
                <a:pos x="1335239" y="712857"/>
              </a:cxn>
              <a:cxn ang="0">
                <a:pos x="1370240" y="660815"/>
              </a:cxn>
              <a:cxn ang="0">
                <a:pos x="1388398" y="571451"/>
              </a:cxn>
              <a:cxn ang="0">
                <a:pos x="1446031" y="514152"/>
              </a:cxn>
              <a:cxn ang="0">
                <a:pos x="570227" y="477627"/>
              </a:cxn>
              <a:cxn ang="0">
                <a:pos x="641756" y="549062"/>
              </a:cxn>
              <a:cxn ang="0">
                <a:pos x="661216" y="657005"/>
              </a:cxn>
              <a:cxn ang="0">
                <a:pos x="633078" y="739471"/>
              </a:cxn>
              <a:cxn ang="0">
                <a:pos x="574697" y="792786"/>
              </a:cxn>
              <a:cxn ang="0">
                <a:pos x="708552" y="915697"/>
              </a:cxn>
              <a:cxn ang="0">
                <a:pos x="815320" y="1036508"/>
              </a:cxn>
              <a:cxn ang="0">
                <a:pos x="222836" y="1047276"/>
              </a:cxn>
              <a:cxn ang="0">
                <a:pos x="324870" y="922526"/>
              </a:cxn>
              <a:cxn ang="0">
                <a:pos x="473189" y="794886"/>
              </a:cxn>
              <a:cxn ang="0">
                <a:pos x="413493" y="744461"/>
              </a:cxn>
              <a:cxn ang="0">
                <a:pos x="382462" y="663570"/>
              </a:cxn>
              <a:cxn ang="0">
                <a:pos x="397978" y="556154"/>
              </a:cxn>
              <a:cxn ang="0">
                <a:pos x="466878" y="480778"/>
              </a:cxn>
              <a:cxn ang="0">
                <a:pos x="140242" y="134558"/>
              </a:cxn>
              <a:cxn ang="0">
                <a:pos x="133677" y="1210760"/>
              </a:cxn>
              <a:cxn ang="0">
                <a:pos x="198545" y="1290654"/>
              </a:cxn>
              <a:cxn ang="0">
                <a:pos x="905010" y="1223901"/>
              </a:cxn>
              <a:cxn ang="0">
                <a:pos x="906061" y="137186"/>
              </a:cxn>
              <a:cxn ang="0">
                <a:pos x="1795088" y="130835"/>
              </a:cxn>
              <a:cxn ang="0">
                <a:pos x="1869239" y="166040"/>
              </a:cxn>
              <a:cxn ang="0">
                <a:pos x="1904211" y="240391"/>
              </a:cxn>
              <a:cxn ang="0">
                <a:pos x="1879757" y="1330166"/>
              </a:cxn>
              <a:cxn ang="0">
                <a:pos x="1769057" y="1410033"/>
              </a:cxn>
              <a:cxn ang="0">
                <a:pos x="1237904" y="1415550"/>
              </a:cxn>
              <a:cxn ang="0">
                <a:pos x="1189785" y="1139429"/>
              </a:cxn>
              <a:cxn ang="0">
                <a:pos x="1756435" y="1159921"/>
              </a:cxn>
              <a:cxn ang="0">
                <a:pos x="1799821" y="1088198"/>
              </a:cxn>
              <a:cxn ang="0">
                <a:pos x="898445" y="262"/>
              </a:cxn>
              <a:cxn ang="0">
                <a:pos x="992990" y="39421"/>
              </a:cxn>
              <a:cxn ang="0">
                <a:pos x="1041313" y="129302"/>
              </a:cxn>
              <a:cxn ang="0">
                <a:pos x="1017414" y="1483030"/>
              </a:cxn>
              <a:cxn ang="0">
                <a:pos x="887939" y="1588417"/>
              </a:cxn>
              <a:cxn ang="0">
                <a:pos x="200909" y="1599454"/>
              </a:cxn>
              <a:cxn ang="0">
                <a:pos x="45959" y="1513779"/>
              </a:cxn>
              <a:cxn ang="0">
                <a:pos x="0" y="152429"/>
              </a:cxn>
              <a:cxn ang="0">
                <a:pos x="34667" y="55452"/>
              </a:cxn>
              <a:cxn ang="0">
                <a:pos x="121596" y="2891"/>
              </a:cxn>
            </a:cxnLst>
            <a:rect l="txL" t="txT" r="txR" b="txB"/>
            <a:pathLst>
              <a:path w="2301876" h="1941513">
                <a:moveTo>
                  <a:pt x="475693" y="1664563"/>
                </a:moveTo>
                <a:lnTo>
                  <a:pt x="471250" y="1664880"/>
                </a:lnTo>
                <a:lnTo>
                  <a:pt x="466490" y="1665198"/>
                </a:lnTo>
                <a:lnTo>
                  <a:pt x="462047" y="1665515"/>
                </a:lnTo>
                <a:lnTo>
                  <a:pt x="457605" y="1666468"/>
                </a:lnTo>
                <a:lnTo>
                  <a:pt x="453162" y="1667421"/>
                </a:lnTo>
                <a:lnTo>
                  <a:pt x="449354" y="1668691"/>
                </a:lnTo>
                <a:lnTo>
                  <a:pt x="440786" y="1671550"/>
                </a:lnTo>
                <a:lnTo>
                  <a:pt x="433170" y="1675679"/>
                </a:lnTo>
                <a:lnTo>
                  <a:pt x="425553" y="1680125"/>
                </a:lnTo>
                <a:lnTo>
                  <a:pt x="418572" y="1685207"/>
                </a:lnTo>
                <a:lnTo>
                  <a:pt x="412542" y="1691241"/>
                </a:lnTo>
                <a:lnTo>
                  <a:pt x="406513" y="1697276"/>
                </a:lnTo>
                <a:lnTo>
                  <a:pt x="401435" y="1704263"/>
                </a:lnTo>
                <a:lnTo>
                  <a:pt x="396993" y="1711886"/>
                </a:lnTo>
                <a:lnTo>
                  <a:pt x="392867" y="1719508"/>
                </a:lnTo>
                <a:lnTo>
                  <a:pt x="390011" y="1728083"/>
                </a:lnTo>
                <a:lnTo>
                  <a:pt x="388742" y="1732212"/>
                </a:lnTo>
                <a:lnTo>
                  <a:pt x="387790" y="1736341"/>
                </a:lnTo>
                <a:lnTo>
                  <a:pt x="386838" y="1740787"/>
                </a:lnTo>
                <a:lnTo>
                  <a:pt x="386203" y="1745552"/>
                </a:lnTo>
                <a:lnTo>
                  <a:pt x="385886" y="1749998"/>
                </a:lnTo>
                <a:lnTo>
                  <a:pt x="385886" y="1754444"/>
                </a:lnTo>
                <a:lnTo>
                  <a:pt x="385886" y="1759209"/>
                </a:lnTo>
                <a:lnTo>
                  <a:pt x="386203" y="1763655"/>
                </a:lnTo>
                <a:lnTo>
                  <a:pt x="386838" y="1768419"/>
                </a:lnTo>
                <a:lnTo>
                  <a:pt x="387790" y="1772865"/>
                </a:lnTo>
                <a:lnTo>
                  <a:pt x="388742" y="1776994"/>
                </a:lnTo>
                <a:lnTo>
                  <a:pt x="390011" y="1781441"/>
                </a:lnTo>
                <a:lnTo>
                  <a:pt x="392867" y="1789698"/>
                </a:lnTo>
                <a:lnTo>
                  <a:pt x="396993" y="1797639"/>
                </a:lnTo>
                <a:lnTo>
                  <a:pt x="401435" y="1804943"/>
                </a:lnTo>
                <a:lnTo>
                  <a:pt x="406513" y="1812248"/>
                </a:lnTo>
                <a:lnTo>
                  <a:pt x="412542" y="1818283"/>
                </a:lnTo>
                <a:lnTo>
                  <a:pt x="418572" y="1824317"/>
                </a:lnTo>
                <a:lnTo>
                  <a:pt x="425553" y="1829399"/>
                </a:lnTo>
                <a:lnTo>
                  <a:pt x="433170" y="1833845"/>
                </a:lnTo>
                <a:lnTo>
                  <a:pt x="440786" y="1837657"/>
                </a:lnTo>
                <a:lnTo>
                  <a:pt x="449354" y="1840515"/>
                </a:lnTo>
                <a:lnTo>
                  <a:pt x="453162" y="1842103"/>
                </a:lnTo>
                <a:lnTo>
                  <a:pt x="457605" y="1842738"/>
                </a:lnTo>
                <a:lnTo>
                  <a:pt x="462047" y="1843374"/>
                </a:lnTo>
                <a:lnTo>
                  <a:pt x="466490" y="1844326"/>
                </a:lnTo>
                <a:lnTo>
                  <a:pt x="471250" y="1844644"/>
                </a:lnTo>
                <a:lnTo>
                  <a:pt x="475693" y="1844644"/>
                </a:lnTo>
                <a:lnTo>
                  <a:pt x="784465" y="1844644"/>
                </a:lnTo>
                <a:lnTo>
                  <a:pt x="788908" y="1844644"/>
                </a:lnTo>
                <a:lnTo>
                  <a:pt x="793668" y="1844326"/>
                </a:lnTo>
                <a:lnTo>
                  <a:pt x="798111" y="1843374"/>
                </a:lnTo>
                <a:lnTo>
                  <a:pt x="802553" y="1842738"/>
                </a:lnTo>
                <a:lnTo>
                  <a:pt x="806996" y="1842103"/>
                </a:lnTo>
                <a:lnTo>
                  <a:pt x="811122" y="1840515"/>
                </a:lnTo>
                <a:lnTo>
                  <a:pt x="819690" y="1837657"/>
                </a:lnTo>
                <a:lnTo>
                  <a:pt x="827306" y="1833845"/>
                </a:lnTo>
                <a:lnTo>
                  <a:pt x="834605" y="1829399"/>
                </a:lnTo>
                <a:lnTo>
                  <a:pt x="841586" y="1824317"/>
                </a:lnTo>
                <a:lnTo>
                  <a:pt x="847933" y="1818283"/>
                </a:lnTo>
                <a:lnTo>
                  <a:pt x="853963" y="1812248"/>
                </a:lnTo>
                <a:lnTo>
                  <a:pt x="859040" y="1804943"/>
                </a:lnTo>
                <a:lnTo>
                  <a:pt x="863483" y="1797639"/>
                </a:lnTo>
                <a:lnTo>
                  <a:pt x="867608" y="1789698"/>
                </a:lnTo>
                <a:lnTo>
                  <a:pt x="870464" y="1781441"/>
                </a:lnTo>
                <a:lnTo>
                  <a:pt x="871734" y="1776994"/>
                </a:lnTo>
                <a:lnTo>
                  <a:pt x="872686" y="1772865"/>
                </a:lnTo>
                <a:lnTo>
                  <a:pt x="873320" y="1768419"/>
                </a:lnTo>
                <a:lnTo>
                  <a:pt x="873638" y="1763655"/>
                </a:lnTo>
                <a:lnTo>
                  <a:pt x="874272" y="1759209"/>
                </a:lnTo>
                <a:lnTo>
                  <a:pt x="874590" y="1754444"/>
                </a:lnTo>
                <a:lnTo>
                  <a:pt x="874272" y="1749998"/>
                </a:lnTo>
                <a:lnTo>
                  <a:pt x="873638" y="1745552"/>
                </a:lnTo>
                <a:lnTo>
                  <a:pt x="873320" y="1740787"/>
                </a:lnTo>
                <a:lnTo>
                  <a:pt x="872686" y="1736341"/>
                </a:lnTo>
                <a:lnTo>
                  <a:pt x="871734" y="1732212"/>
                </a:lnTo>
                <a:lnTo>
                  <a:pt x="870464" y="1728083"/>
                </a:lnTo>
                <a:lnTo>
                  <a:pt x="867608" y="1719508"/>
                </a:lnTo>
                <a:lnTo>
                  <a:pt x="863483" y="1711886"/>
                </a:lnTo>
                <a:lnTo>
                  <a:pt x="859040" y="1704263"/>
                </a:lnTo>
                <a:lnTo>
                  <a:pt x="853963" y="1697276"/>
                </a:lnTo>
                <a:lnTo>
                  <a:pt x="847933" y="1691241"/>
                </a:lnTo>
                <a:lnTo>
                  <a:pt x="841586" y="1685207"/>
                </a:lnTo>
                <a:lnTo>
                  <a:pt x="834605" y="1680125"/>
                </a:lnTo>
                <a:lnTo>
                  <a:pt x="827306" y="1675679"/>
                </a:lnTo>
                <a:lnTo>
                  <a:pt x="819690" y="1671550"/>
                </a:lnTo>
                <a:lnTo>
                  <a:pt x="811122" y="1668691"/>
                </a:lnTo>
                <a:lnTo>
                  <a:pt x="806996" y="1667421"/>
                </a:lnTo>
                <a:lnTo>
                  <a:pt x="802553" y="1666468"/>
                </a:lnTo>
                <a:lnTo>
                  <a:pt x="798111" y="1665515"/>
                </a:lnTo>
                <a:lnTo>
                  <a:pt x="793668" y="1665198"/>
                </a:lnTo>
                <a:lnTo>
                  <a:pt x="788908" y="1664880"/>
                </a:lnTo>
                <a:lnTo>
                  <a:pt x="784465" y="1664563"/>
                </a:lnTo>
                <a:lnTo>
                  <a:pt x="475693" y="1664563"/>
                </a:lnTo>
                <a:close/>
                <a:moveTo>
                  <a:pt x="1670551" y="1495108"/>
                </a:moveTo>
                <a:lnTo>
                  <a:pt x="1662926" y="1495425"/>
                </a:lnTo>
                <a:lnTo>
                  <a:pt x="1655936" y="1496695"/>
                </a:lnTo>
                <a:lnTo>
                  <a:pt x="1648946" y="1498283"/>
                </a:lnTo>
                <a:lnTo>
                  <a:pt x="1642274" y="1500823"/>
                </a:lnTo>
                <a:lnTo>
                  <a:pt x="1636237" y="1503998"/>
                </a:lnTo>
                <a:lnTo>
                  <a:pt x="1629882" y="1507490"/>
                </a:lnTo>
                <a:lnTo>
                  <a:pt x="1624481" y="1511618"/>
                </a:lnTo>
                <a:lnTo>
                  <a:pt x="1619080" y="1516380"/>
                </a:lnTo>
                <a:lnTo>
                  <a:pt x="1614631" y="1521778"/>
                </a:lnTo>
                <a:lnTo>
                  <a:pt x="1610183" y="1527175"/>
                </a:lnTo>
                <a:lnTo>
                  <a:pt x="1606688" y="1533208"/>
                </a:lnTo>
                <a:lnTo>
                  <a:pt x="1603511" y="1539240"/>
                </a:lnTo>
                <a:lnTo>
                  <a:pt x="1601605" y="1545908"/>
                </a:lnTo>
                <a:lnTo>
                  <a:pt x="1599698" y="1552893"/>
                </a:lnTo>
                <a:lnTo>
                  <a:pt x="1598427" y="1559878"/>
                </a:lnTo>
                <a:lnTo>
                  <a:pt x="1598110" y="1567498"/>
                </a:lnTo>
                <a:lnTo>
                  <a:pt x="1598427" y="1574800"/>
                </a:lnTo>
                <a:lnTo>
                  <a:pt x="1599698" y="1582103"/>
                </a:lnTo>
                <a:lnTo>
                  <a:pt x="1601605" y="1589088"/>
                </a:lnTo>
                <a:lnTo>
                  <a:pt x="1603511" y="1595755"/>
                </a:lnTo>
                <a:lnTo>
                  <a:pt x="1606688" y="1602105"/>
                </a:lnTo>
                <a:lnTo>
                  <a:pt x="1610183" y="1607820"/>
                </a:lnTo>
                <a:lnTo>
                  <a:pt x="1614631" y="1613535"/>
                </a:lnTo>
                <a:lnTo>
                  <a:pt x="1619080" y="1618615"/>
                </a:lnTo>
                <a:lnTo>
                  <a:pt x="1624481" y="1623378"/>
                </a:lnTo>
                <a:lnTo>
                  <a:pt x="1629882" y="1627505"/>
                </a:lnTo>
                <a:lnTo>
                  <a:pt x="1636237" y="1630998"/>
                </a:lnTo>
                <a:lnTo>
                  <a:pt x="1642274" y="1634173"/>
                </a:lnTo>
                <a:lnTo>
                  <a:pt x="1648946" y="1636713"/>
                </a:lnTo>
                <a:lnTo>
                  <a:pt x="1655936" y="1638300"/>
                </a:lnTo>
                <a:lnTo>
                  <a:pt x="1662926" y="1639253"/>
                </a:lnTo>
                <a:lnTo>
                  <a:pt x="1670551" y="1639570"/>
                </a:lnTo>
                <a:lnTo>
                  <a:pt x="1918697" y="1639570"/>
                </a:lnTo>
                <a:lnTo>
                  <a:pt x="1926004" y="1639253"/>
                </a:lnTo>
                <a:lnTo>
                  <a:pt x="1933630" y="1638300"/>
                </a:lnTo>
                <a:lnTo>
                  <a:pt x="1940620" y="1636713"/>
                </a:lnTo>
                <a:lnTo>
                  <a:pt x="1947292" y="1634173"/>
                </a:lnTo>
                <a:lnTo>
                  <a:pt x="1953329" y="1630998"/>
                </a:lnTo>
                <a:lnTo>
                  <a:pt x="1959366" y="1627505"/>
                </a:lnTo>
                <a:lnTo>
                  <a:pt x="1964767" y="1623378"/>
                </a:lnTo>
                <a:lnTo>
                  <a:pt x="1970168" y="1618615"/>
                </a:lnTo>
                <a:lnTo>
                  <a:pt x="1974934" y="1613535"/>
                </a:lnTo>
                <a:lnTo>
                  <a:pt x="1979065" y="1607820"/>
                </a:lnTo>
                <a:lnTo>
                  <a:pt x="1982560" y="1602105"/>
                </a:lnTo>
                <a:lnTo>
                  <a:pt x="1985419" y="1595755"/>
                </a:lnTo>
                <a:lnTo>
                  <a:pt x="1988279" y="1589088"/>
                </a:lnTo>
                <a:lnTo>
                  <a:pt x="1989868" y="1582103"/>
                </a:lnTo>
                <a:lnTo>
                  <a:pt x="1991138" y="1574800"/>
                </a:lnTo>
                <a:lnTo>
                  <a:pt x="1991456" y="1567498"/>
                </a:lnTo>
                <a:lnTo>
                  <a:pt x="1991138" y="1559878"/>
                </a:lnTo>
                <a:lnTo>
                  <a:pt x="1989868" y="1552893"/>
                </a:lnTo>
                <a:lnTo>
                  <a:pt x="1988279" y="1545908"/>
                </a:lnTo>
                <a:lnTo>
                  <a:pt x="1985419" y="1539240"/>
                </a:lnTo>
                <a:lnTo>
                  <a:pt x="1982560" y="1533208"/>
                </a:lnTo>
                <a:lnTo>
                  <a:pt x="1979065" y="1527175"/>
                </a:lnTo>
                <a:lnTo>
                  <a:pt x="1974934" y="1521778"/>
                </a:lnTo>
                <a:lnTo>
                  <a:pt x="1970168" y="1516380"/>
                </a:lnTo>
                <a:lnTo>
                  <a:pt x="1964767" y="1511618"/>
                </a:lnTo>
                <a:lnTo>
                  <a:pt x="1959366" y="1507490"/>
                </a:lnTo>
                <a:lnTo>
                  <a:pt x="1953329" y="1503998"/>
                </a:lnTo>
                <a:lnTo>
                  <a:pt x="1947292" y="1500823"/>
                </a:lnTo>
                <a:lnTo>
                  <a:pt x="1940620" y="1498283"/>
                </a:lnTo>
                <a:lnTo>
                  <a:pt x="1933630" y="1496695"/>
                </a:lnTo>
                <a:lnTo>
                  <a:pt x="1926004" y="1495425"/>
                </a:lnTo>
                <a:lnTo>
                  <a:pt x="1918697" y="1495108"/>
                </a:lnTo>
                <a:lnTo>
                  <a:pt x="1670551" y="1495108"/>
                </a:lnTo>
                <a:close/>
                <a:moveTo>
                  <a:pt x="1787673" y="611187"/>
                </a:moveTo>
                <a:lnTo>
                  <a:pt x="1794669" y="611187"/>
                </a:lnTo>
                <a:lnTo>
                  <a:pt x="1801665" y="611187"/>
                </a:lnTo>
                <a:lnTo>
                  <a:pt x="1808661" y="612140"/>
                </a:lnTo>
                <a:lnTo>
                  <a:pt x="1815338" y="613093"/>
                </a:lnTo>
                <a:lnTo>
                  <a:pt x="1822016" y="614681"/>
                </a:lnTo>
                <a:lnTo>
                  <a:pt x="1828694" y="616587"/>
                </a:lnTo>
                <a:lnTo>
                  <a:pt x="1835372" y="618810"/>
                </a:lnTo>
                <a:lnTo>
                  <a:pt x="1841732" y="621352"/>
                </a:lnTo>
                <a:lnTo>
                  <a:pt x="1847773" y="624210"/>
                </a:lnTo>
                <a:lnTo>
                  <a:pt x="1853815" y="627387"/>
                </a:lnTo>
                <a:lnTo>
                  <a:pt x="1859539" y="631198"/>
                </a:lnTo>
                <a:lnTo>
                  <a:pt x="1865581" y="635010"/>
                </a:lnTo>
                <a:lnTo>
                  <a:pt x="1870987" y="639457"/>
                </a:lnTo>
                <a:lnTo>
                  <a:pt x="1876393" y="643904"/>
                </a:lnTo>
                <a:lnTo>
                  <a:pt x="1881480" y="648986"/>
                </a:lnTo>
                <a:lnTo>
                  <a:pt x="1886568" y="654068"/>
                </a:lnTo>
                <a:lnTo>
                  <a:pt x="1891338" y="659151"/>
                </a:lnTo>
                <a:lnTo>
                  <a:pt x="1895790" y="665186"/>
                </a:lnTo>
                <a:lnTo>
                  <a:pt x="1900242" y="670903"/>
                </a:lnTo>
                <a:lnTo>
                  <a:pt x="1904376" y="677256"/>
                </a:lnTo>
                <a:lnTo>
                  <a:pt x="1908192" y="683609"/>
                </a:lnTo>
                <a:lnTo>
                  <a:pt x="1911690" y="690597"/>
                </a:lnTo>
                <a:lnTo>
                  <a:pt x="1915188" y="697267"/>
                </a:lnTo>
                <a:lnTo>
                  <a:pt x="1918049" y="704255"/>
                </a:lnTo>
                <a:lnTo>
                  <a:pt x="1920593" y="711561"/>
                </a:lnTo>
                <a:lnTo>
                  <a:pt x="1923137" y="718867"/>
                </a:lnTo>
                <a:lnTo>
                  <a:pt x="1925363" y="726808"/>
                </a:lnTo>
                <a:lnTo>
                  <a:pt x="1927271" y="734431"/>
                </a:lnTo>
                <a:lnTo>
                  <a:pt x="1928861" y="742690"/>
                </a:lnTo>
                <a:lnTo>
                  <a:pt x="1929815" y="750631"/>
                </a:lnTo>
                <a:lnTo>
                  <a:pt x="1930451" y="758889"/>
                </a:lnTo>
                <a:lnTo>
                  <a:pt x="1931405" y="767466"/>
                </a:lnTo>
                <a:lnTo>
                  <a:pt x="1931405" y="775724"/>
                </a:lnTo>
                <a:lnTo>
                  <a:pt x="1931723" y="784301"/>
                </a:lnTo>
                <a:lnTo>
                  <a:pt x="1932359" y="791924"/>
                </a:lnTo>
                <a:lnTo>
                  <a:pt x="1933313" y="799865"/>
                </a:lnTo>
                <a:lnTo>
                  <a:pt x="1934585" y="806853"/>
                </a:lnTo>
                <a:lnTo>
                  <a:pt x="1936175" y="813206"/>
                </a:lnTo>
                <a:lnTo>
                  <a:pt x="1938401" y="819241"/>
                </a:lnTo>
                <a:lnTo>
                  <a:pt x="1940627" y="824958"/>
                </a:lnTo>
                <a:lnTo>
                  <a:pt x="1943171" y="830041"/>
                </a:lnTo>
                <a:lnTo>
                  <a:pt x="1945715" y="834805"/>
                </a:lnTo>
                <a:lnTo>
                  <a:pt x="1948576" y="839252"/>
                </a:lnTo>
                <a:lnTo>
                  <a:pt x="1951756" y="843381"/>
                </a:lnTo>
                <a:lnTo>
                  <a:pt x="1954936" y="846875"/>
                </a:lnTo>
                <a:lnTo>
                  <a:pt x="1958116" y="850687"/>
                </a:lnTo>
                <a:lnTo>
                  <a:pt x="1961614" y="853546"/>
                </a:lnTo>
                <a:lnTo>
                  <a:pt x="1965430" y="856087"/>
                </a:lnTo>
                <a:lnTo>
                  <a:pt x="1968610" y="858946"/>
                </a:lnTo>
                <a:lnTo>
                  <a:pt x="1975606" y="862757"/>
                </a:lnTo>
                <a:lnTo>
                  <a:pt x="1982284" y="866251"/>
                </a:lnTo>
                <a:lnTo>
                  <a:pt x="1988643" y="868475"/>
                </a:lnTo>
                <a:lnTo>
                  <a:pt x="1994049" y="869745"/>
                </a:lnTo>
                <a:lnTo>
                  <a:pt x="1998819" y="871016"/>
                </a:lnTo>
                <a:lnTo>
                  <a:pt x="2002635" y="871334"/>
                </a:lnTo>
                <a:lnTo>
                  <a:pt x="2005815" y="871651"/>
                </a:lnTo>
                <a:lnTo>
                  <a:pt x="2005815" y="932320"/>
                </a:lnTo>
                <a:lnTo>
                  <a:pt x="1841096" y="932320"/>
                </a:lnTo>
                <a:lnTo>
                  <a:pt x="1841096" y="997119"/>
                </a:lnTo>
                <a:lnTo>
                  <a:pt x="1853815" y="999025"/>
                </a:lnTo>
                <a:lnTo>
                  <a:pt x="1865899" y="1001566"/>
                </a:lnTo>
                <a:lnTo>
                  <a:pt x="1877983" y="1004107"/>
                </a:lnTo>
                <a:lnTo>
                  <a:pt x="1890066" y="1007601"/>
                </a:lnTo>
                <a:lnTo>
                  <a:pt x="1901514" y="1011095"/>
                </a:lnTo>
                <a:lnTo>
                  <a:pt x="1912962" y="1015224"/>
                </a:lnTo>
                <a:lnTo>
                  <a:pt x="1923773" y="1019354"/>
                </a:lnTo>
                <a:lnTo>
                  <a:pt x="1934903" y="1024118"/>
                </a:lnTo>
                <a:lnTo>
                  <a:pt x="1945715" y="1029200"/>
                </a:lnTo>
                <a:lnTo>
                  <a:pt x="1956208" y="1034918"/>
                </a:lnTo>
                <a:lnTo>
                  <a:pt x="1966384" y="1040635"/>
                </a:lnTo>
                <a:lnTo>
                  <a:pt x="1976242" y="1046988"/>
                </a:lnTo>
                <a:lnTo>
                  <a:pt x="1986099" y="1053659"/>
                </a:lnTo>
                <a:lnTo>
                  <a:pt x="1995321" y="1060329"/>
                </a:lnTo>
                <a:lnTo>
                  <a:pt x="2003907" y="1067635"/>
                </a:lnTo>
                <a:lnTo>
                  <a:pt x="2012811" y="1074940"/>
                </a:lnTo>
                <a:lnTo>
                  <a:pt x="2021396" y="1082881"/>
                </a:lnTo>
                <a:lnTo>
                  <a:pt x="2029028" y="1090822"/>
                </a:lnTo>
                <a:lnTo>
                  <a:pt x="2036978" y="1099081"/>
                </a:lnTo>
                <a:lnTo>
                  <a:pt x="2044292" y="1107975"/>
                </a:lnTo>
                <a:lnTo>
                  <a:pt x="2051288" y="1116551"/>
                </a:lnTo>
                <a:lnTo>
                  <a:pt x="2057965" y="1125445"/>
                </a:lnTo>
                <a:lnTo>
                  <a:pt x="2064325" y="1135292"/>
                </a:lnTo>
                <a:lnTo>
                  <a:pt x="2069731" y="1144821"/>
                </a:lnTo>
                <a:lnTo>
                  <a:pt x="2075455" y="1154350"/>
                </a:lnTo>
                <a:lnTo>
                  <a:pt x="2080225" y="1164515"/>
                </a:lnTo>
                <a:lnTo>
                  <a:pt x="2084995" y="1174679"/>
                </a:lnTo>
                <a:lnTo>
                  <a:pt x="2089128" y="1185161"/>
                </a:lnTo>
                <a:lnTo>
                  <a:pt x="2092626" y="1195643"/>
                </a:lnTo>
                <a:lnTo>
                  <a:pt x="2095488" y="1206761"/>
                </a:lnTo>
                <a:lnTo>
                  <a:pt x="2098668" y="1217560"/>
                </a:lnTo>
                <a:lnTo>
                  <a:pt x="2100894" y="1228995"/>
                </a:lnTo>
                <a:lnTo>
                  <a:pt x="2103438" y="1336675"/>
                </a:lnTo>
                <a:lnTo>
                  <a:pt x="1485900" y="1336675"/>
                </a:lnTo>
                <a:lnTo>
                  <a:pt x="1488444" y="1228995"/>
                </a:lnTo>
                <a:lnTo>
                  <a:pt x="1490670" y="1217560"/>
                </a:lnTo>
                <a:lnTo>
                  <a:pt x="1493214" y="1206761"/>
                </a:lnTo>
                <a:lnTo>
                  <a:pt x="1496712" y="1195643"/>
                </a:lnTo>
                <a:lnTo>
                  <a:pt x="1500210" y="1185161"/>
                </a:lnTo>
                <a:lnTo>
                  <a:pt x="1504343" y="1174679"/>
                </a:lnTo>
                <a:lnTo>
                  <a:pt x="1508795" y="1164515"/>
                </a:lnTo>
                <a:lnTo>
                  <a:pt x="1513565" y="1154350"/>
                </a:lnTo>
                <a:lnTo>
                  <a:pt x="1519289" y="1144821"/>
                </a:lnTo>
                <a:lnTo>
                  <a:pt x="1525013" y="1135292"/>
                </a:lnTo>
                <a:lnTo>
                  <a:pt x="1531055" y="1125763"/>
                </a:lnTo>
                <a:lnTo>
                  <a:pt x="1537732" y="1116551"/>
                </a:lnTo>
                <a:lnTo>
                  <a:pt x="1544728" y="1107975"/>
                </a:lnTo>
                <a:lnTo>
                  <a:pt x="1552042" y="1099081"/>
                </a:lnTo>
                <a:lnTo>
                  <a:pt x="1559674" y="1090822"/>
                </a:lnTo>
                <a:lnTo>
                  <a:pt x="1567942" y="1082881"/>
                </a:lnTo>
                <a:lnTo>
                  <a:pt x="1576209" y="1074940"/>
                </a:lnTo>
                <a:lnTo>
                  <a:pt x="1584795" y="1067635"/>
                </a:lnTo>
                <a:lnTo>
                  <a:pt x="1593699" y="1060329"/>
                </a:lnTo>
                <a:lnTo>
                  <a:pt x="1603239" y="1053659"/>
                </a:lnTo>
                <a:lnTo>
                  <a:pt x="1613096" y="1046988"/>
                </a:lnTo>
                <a:lnTo>
                  <a:pt x="1622954" y="1040635"/>
                </a:lnTo>
                <a:lnTo>
                  <a:pt x="1632812" y="1034918"/>
                </a:lnTo>
                <a:lnTo>
                  <a:pt x="1643305" y="1029200"/>
                </a:lnTo>
                <a:lnTo>
                  <a:pt x="1654117" y="1024118"/>
                </a:lnTo>
                <a:lnTo>
                  <a:pt x="1664929" y="1019671"/>
                </a:lnTo>
                <a:lnTo>
                  <a:pt x="1676058" y="1015224"/>
                </a:lnTo>
                <a:lnTo>
                  <a:pt x="1687506" y="1011095"/>
                </a:lnTo>
                <a:lnTo>
                  <a:pt x="1699272" y="1007601"/>
                </a:lnTo>
                <a:lnTo>
                  <a:pt x="1711355" y="1004107"/>
                </a:lnTo>
                <a:lnTo>
                  <a:pt x="1723439" y="1001566"/>
                </a:lnTo>
                <a:lnTo>
                  <a:pt x="1735523" y="999025"/>
                </a:lnTo>
                <a:lnTo>
                  <a:pt x="1747924" y="997119"/>
                </a:lnTo>
                <a:lnTo>
                  <a:pt x="1747924" y="932320"/>
                </a:lnTo>
                <a:lnTo>
                  <a:pt x="1583205" y="932320"/>
                </a:lnTo>
                <a:lnTo>
                  <a:pt x="1583205" y="871651"/>
                </a:lnTo>
                <a:lnTo>
                  <a:pt x="1586385" y="871334"/>
                </a:lnTo>
                <a:lnTo>
                  <a:pt x="1590201" y="870698"/>
                </a:lnTo>
                <a:lnTo>
                  <a:pt x="1594971" y="869110"/>
                </a:lnTo>
                <a:lnTo>
                  <a:pt x="1600377" y="867204"/>
                </a:lnTo>
                <a:lnTo>
                  <a:pt x="1606736" y="864663"/>
                </a:lnTo>
                <a:lnTo>
                  <a:pt x="1613414" y="861487"/>
                </a:lnTo>
                <a:lnTo>
                  <a:pt x="1620410" y="857358"/>
                </a:lnTo>
                <a:lnTo>
                  <a:pt x="1624226" y="854816"/>
                </a:lnTo>
                <a:lnTo>
                  <a:pt x="1627406" y="851958"/>
                </a:lnTo>
                <a:lnTo>
                  <a:pt x="1630586" y="848464"/>
                </a:lnTo>
                <a:lnTo>
                  <a:pt x="1634084" y="845287"/>
                </a:lnTo>
                <a:lnTo>
                  <a:pt x="1637264" y="841476"/>
                </a:lnTo>
                <a:lnTo>
                  <a:pt x="1640444" y="837346"/>
                </a:lnTo>
                <a:lnTo>
                  <a:pt x="1643305" y="832899"/>
                </a:lnTo>
                <a:lnTo>
                  <a:pt x="1646167" y="828135"/>
                </a:lnTo>
                <a:lnTo>
                  <a:pt x="1648393" y="823052"/>
                </a:lnTo>
                <a:lnTo>
                  <a:pt x="1650619" y="817653"/>
                </a:lnTo>
                <a:lnTo>
                  <a:pt x="1652845" y="811617"/>
                </a:lnTo>
                <a:lnTo>
                  <a:pt x="1654435" y="805265"/>
                </a:lnTo>
                <a:lnTo>
                  <a:pt x="1655707" y="798594"/>
                </a:lnTo>
                <a:lnTo>
                  <a:pt x="1656979" y="791289"/>
                </a:lnTo>
                <a:lnTo>
                  <a:pt x="1657297" y="783983"/>
                </a:lnTo>
                <a:lnTo>
                  <a:pt x="1657615" y="775724"/>
                </a:lnTo>
                <a:lnTo>
                  <a:pt x="1657933" y="767466"/>
                </a:lnTo>
                <a:lnTo>
                  <a:pt x="1658569" y="758889"/>
                </a:lnTo>
                <a:lnTo>
                  <a:pt x="1659205" y="750631"/>
                </a:lnTo>
                <a:lnTo>
                  <a:pt x="1660477" y="742690"/>
                </a:lnTo>
                <a:lnTo>
                  <a:pt x="1662067" y="734431"/>
                </a:lnTo>
                <a:lnTo>
                  <a:pt x="1663975" y="726808"/>
                </a:lnTo>
                <a:lnTo>
                  <a:pt x="1666201" y="718867"/>
                </a:lnTo>
                <a:lnTo>
                  <a:pt x="1668427" y="711561"/>
                </a:lnTo>
                <a:lnTo>
                  <a:pt x="1671289" y="704255"/>
                </a:lnTo>
                <a:lnTo>
                  <a:pt x="1674151" y="697267"/>
                </a:lnTo>
                <a:lnTo>
                  <a:pt x="1677648" y="690597"/>
                </a:lnTo>
                <a:lnTo>
                  <a:pt x="1680828" y="683609"/>
                </a:lnTo>
                <a:lnTo>
                  <a:pt x="1684962" y="677256"/>
                </a:lnTo>
                <a:lnTo>
                  <a:pt x="1689096" y="670903"/>
                </a:lnTo>
                <a:lnTo>
                  <a:pt x="1693230" y="665186"/>
                </a:lnTo>
                <a:lnTo>
                  <a:pt x="1698000" y="659151"/>
                </a:lnTo>
                <a:lnTo>
                  <a:pt x="1702770" y="654068"/>
                </a:lnTo>
                <a:lnTo>
                  <a:pt x="1707540" y="648986"/>
                </a:lnTo>
                <a:lnTo>
                  <a:pt x="1712627" y="643904"/>
                </a:lnTo>
                <a:lnTo>
                  <a:pt x="1718351" y="639457"/>
                </a:lnTo>
                <a:lnTo>
                  <a:pt x="1723757" y="635010"/>
                </a:lnTo>
                <a:lnTo>
                  <a:pt x="1729163" y="631198"/>
                </a:lnTo>
                <a:lnTo>
                  <a:pt x="1735205" y="627387"/>
                </a:lnTo>
                <a:lnTo>
                  <a:pt x="1741565" y="624210"/>
                </a:lnTo>
                <a:lnTo>
                  <a:pt x="1747288" y="621352"/>
                </a:lnTo>
                <a:lnTo>
                  <a:pt x="1753966" y="618810"/>
                </a:lnTo>
                <a:lnTo>
                  <a:pt x="1760326" y="616587"/>
                </a:lnTo>
                <a:lnTo>
                  <a:pt x="1767004" y="614681"/>
                </a:lnTo>
                <a:lnTo>
                  <a:pt x="1773682" y="613093"/>
                </a:lnTo>
                <a:lnTo>
                  <a:pt x="1780677" y="612140"/>
                </a:lnTo>
                <a:lnTo>
                  <a:pt x="1787673" y="611187"/>
                </a:lnTo>
                <a:close/>
                <a:moveTo>
                  <a:pt x="630238" y="565150"/>
                </a:moveTo>
                <a:lnTo>
                  <a:pt x="639136" y="565468"/>
                </a:lnTo>
                <a:lnTo>
                  <a:pt x="647397" y="566420"/>
                </a:lnTo>
                <a:lnTo>
                  <a:pt x="655977" y="567372"/>
                </a:lnTo>
                <a:lnTo>
                  <a:pt x="664557" y="569276"/>
                </a:lnTo>
                <a:lnTo>
                  <a:pt x="672501" y="571498"/>
                </a:lnTo>
                <a:lnTo>
                  <a:pt x="680762" y="574354"/>
                </a:lnTo>
                <a:lnTo>
                  <a:pt x="689024" y="577211"/>
                </a:lnTo>
                <a:lnTo>
                  <a:pt x="696333" y="581020"/>
                </a:lnTo>
                <a:lnTo>
                  <a:pt x="703959" y="585463"/>
                </a:lnTo>
                <a:lnTo>
                  <a:pt x="711268" y="589907"/>
                </a:lnTo>
                <a:lnTo>
                  <a:pt x="718258" y="594667"/>
                </a:lnTo>
                <a:lnTo>
                  <a:pt x="725249" y="600063"/>
                </a:lnTo>
                <a:lnTo>
                  <a:pt x="731922" y="605776"/>
                </a:lnTo>
                <a:lnTo>
                  <a:pt x="738278" y="611489"/>
                </a:lnTo>
                <a:lnTo>
                  <a:pt x="744633" y="618154"/>
                </a:lnTo>
                <a:lnTo>
                  <a:pt x="750353" y="624820"/>
                </a:lnTo>
                <a:lnTo>
                  <a:pt x="756072" y="632437"/>
                </a:lnTo>
                <a:lnTo>
                  <a:pt x="761474" y="639737"/>
                </a:lnTo>
                <a:lnTo>
                  <a:pt x="766241" y="647354"/>
                </a:lnTo>
                <a:lnTo>
                  <a:pt x="771007" y="655289"/>
                </a:lnTo>
                <a:lnTo>
                  <a:pt x="775456" y="663541"/>
                </a:lnTo>
                <a:lnTo>
                  <a:pt x="779587" y="672111"/>
                </a:lnTo>
                <a:lnTo>
                  <a:pt x="783400" y="680998"/>
                </a:lnTo>
                <a:lnTo>
                  <a:pt x="786895" y="690202"/>
                </a:lnTo>
                <a:lnTo>
                  <a:pt x="790073" y="699406"/>
                </a:lnTo>
                <a:lnTo>
                  <a:pt x="792615" y="708611"/>
                </a:lnTo>
                <a:lnTo>
                  <a:pt x="794839" y="718450"/>
                </a:lnTo>
                <a:lnTo>
                  <a:pt x="796746" y="728606"/>
                </a:lnTo>
                <a:lnTo>
                  <a:pt x="798017" y="738445"/>
                </a:lnTo>
                <a:lnTo>
                  <a:pt x="799288" y="748919"/>
                </a:lnTo>
                <a:lnTo>
                  <a:pt x="799923" y="759076"/>
                </a:lnTo>
                <a:lnTo>
                  <a:pt x="800241" y="769550"/>
                </a:lnTo>
                <a:lnTo>
                  <a:pt x="799923" y="777802"/>
                </a:lnTo>
                <a:lnTo>
                  <a:pt x="799606" y="786054"/>
                </a:lnTo>
                <a:lnTo>
                  <a:pt x="798970" y="793989"/>
                </a:lnTo>
                <a:lnTo>
                  <a:pt x="798017" y="801923"/>
                </a:lnTo>
                <a:lnTo>
                  <a:pt x="797064" y="809541"/>
                </a:lnTo>
                <a:lnTo>
                  <a:pt x="795475" y="817476"/>
                </a:lnTo>
                <a:lnTo>
                  <a:pt x="793568" y="825093"/>
                </a:lnTo>
                <a:lnTo>
                  <a:pt x="791979" y="832710"/>
                </a:lnTo>
                <a:lnTo>
                  <a:pt x="789755" y="840328"/>
                </a:lnTo>
                <a:lnTo>
                  <a:pt x="787531" y="847310"/>
                </a:lnTo>
                <a:lnTo>
                  <a:pt x="784671" y="854293"/>
                </a:lnTo>
                <a:lnTo>
                  <a:pt x="781811" y="861276"/>
                </a:lnTo>
                <a:lnTo>
                  <a:pt x="778951" y="868258"/>
                </a:lnTo>
                <a:lnTo>
                  <a:pt x="775456" y="874923"/>
                </a:lnTo>
                <a:lnTo>
                  <a:pt x="772278" y="880954"/>
                </a:lnTo>
                <a:lnTo>
                  <a:pt x="768465" y="887619"/>
                </a:lnTo>
                <a:lnTo>
                  <a:pt x="764970" y="893649"/>
                </a:lnTo>
                <a:lnTo>
                  <a:pt x="760839" y="899680"/>
                </a:lnTo>
                <a:lnTo>
                  <a:pt x="756708" y="905393"/>
                </a:lnTo>
                <a:lnTo>
                  <a:pt x="752259" y="911106"/>
                </a:lnTo>
                <a:lnTo>
                  <a:pt x="747810" y="916501"/>
                </a:lnTo>
                <a:lnTo>
                  <a:pt x="743044" y="921580"/>
                </a:lnTo>
                <a:lnTo>
                  <a:pt x="738278" y="926341"/>
                </a:lnTo>
                <a:lnTo>
                  <a:pt x="733193" y="931101"/>
                </a:lnTo>
                <a:lnTo>
                  <a:pt x="728109" y="936180"/>
                </a:lnTo>
                <a:lnTo>
                  <a:pt x="722707" y="939988"/>
                </a:lnTo>
                <a:lnTo>
                  <a:pt x="717305" y="944114"/>
                </a:lnTo>
                <a:lnTo>
                  <a:pt x="711903" y="948241"/>
                </a:lnTo>
                <a:lnTo>
                  <a:pt x="706183" y="951414"/>
                </a:lnTo>
                <a:lnTo>
                  <a:pt x="700464" y="954906"/>
                </a:lnTo>
                <a:lnTo>
                  <a:pt x="694426" y="958080"/>
                </a:lnTo>
                <a:lnTo>
                  <a:pt x="688071" y="960619"/>
                </a:lnTo>
                <a:lnTo>
                  <a:pt x="688071" y="1044727"/>
                </a:lnTo>
                <a:lnTo>
                  <a:pt x="703641" y="1047266"/>
                </a:lnTo>
                <a:lnTo>
                  <a:pt x="718894" y="1050440"/>
                </a:lnTo>
                <a:lnTo>
                  <a:pt x="733829" y="1053614"/>
                </a:lnTo>
                <a:lnTo>
                  <a:pt x="748764" y="1057740"/>
                </a:lnTo>
                <a:lnTo>
                  <a:pt x="763063" y="1062184"/>
                </a:lnTo>
                <a:lnTo>
                  <a:pt x="777045" y="1066945"/>
                </a:lnTo>
                <a:lnTo>
                  <a:pt x="791026" y="1072340"/>
                </a:lnTo>
                <a:lnTo>
                  <a:pt x="804690" y="1078371"/>
                </a:lnTo>
                <a:lnTo>
                  <a:pt x="818036" y="1085036"/>
                </a:lnTo>
                <a:lnTo>
                  <a:pt x="831064" y="1091701"/>
                </a:lnTo>
                <a:lnTo>
                  <a:pt x="843775" y="1099001"/>
                </a:lnTo>
                <a:lnTo>
                  <a:pt x="856167" y="1106618"/>
                </a:lnTo>
                <a:lnTo>
                  <a:pt x="867925" y="1114871"/>
                </a:lnTo>
                <a:lnTo>
                  <a:pt x="879682" y="1123440"/>
                </a:lnTo>
                <a:lnTo>
                  <a:pt x="890804" y="1132010"/>
                </a:lnTo>
                <a:lnTo>
                  <a:pt x="901925" y="1141214"/>
                </a:lnTo>
                <a:lnTo>
                  <a:pt x="912094" y="1151370"/>
                </a:lnTo>
                <a:lnTo>
                  <a:pt x="921944" y="1161210"/>
                </a:lnTo>
                <a:lnTo>
                  <a:pt x="931795" y="1171683"/>
                </a:lnTo>
                <a:lnTo>
                  <a:pt x="940692" y="1182157"/>
                </a:lnTo>
                <a:lnTo>
                  <a:pt x="949272" y="1193266"/>
                </a:lnTo>
                <a:lnTo>
                  <a:pt x="957534" y="1204692"/>
                </a:lnTo>
                <a:lnTo>
                  <a:pt x="965160" y="1216118"/>
                </a:lnTo>
                <a:lnTo>
                  <a:pt x="972151" y="1227862"/>
                </a:lnTo>
                <a:lnTo>
                  <a:pt x="979142" y="1240557"/>
                </a:lnTo>
                <a:lnTo>
                  <a:pt x="985179" y="1252618"/>
                </a:lnTo>
                <a:lnTo>
                  <a:pt x="991217" y="1265631"/>
                </a:lnTo>
                <a:lnTo>
                  <a:pt x="995983" y="1278327"/>
                </a:lnTo>
                <a:lnTo>
                  <a:pt x="1000749" y="1291657"/>
                </a:lnTo>
                <a:lnTo>
                  <a:pt x="1004880" y="1304988"/>
                </a:lnTo>
                <a:lnTo>
                  <a:pt x="1008058" y="1318635"/>
                </a:lnTo>
                <a:lnTo>
                  <a:pt x="1010600" y="1332600"/>
                </a:lnTo>
                <a:lnTo>
                  <a:pt x="1014413" y="1484313"/>
                </a:lnTo>
                <a:lnTo>
                  <a:pt x="246063" y="1484313"/>
                </a:lnTo>
                <a:lnTo>
                  <a:pt x="249876" y="1332600"/>
                </a:lnTo>
                <a:lnTo>
                  <a:pt x="252419" y="1318635"/>
                </a:lnTo>
                <a:lnTo>
                  <a:pt x="255596" y="1304988"/>
                </a:lnTo>
                <a:lnTo>
                  <a:pt x="259727" y="1291657"/>
                </a:lnTo>
                <a:lnTo>
                  <a:pt x="264176" y="1278327"/>
                </a:lnTo>
                <a:lnTo>
                  <a:pt x="269260" y="1265631"/>
                </a:lnTo>
                <a:lnTo>
                  <a:pt x="275297" y="1252618"/>
                </a:lnTo>
                <a:lnTo>
                  <a:pt x="281017" y="1240557"/>
                </a:lnTo>
                <a:lnTo>
                  <a:pt x="288008" y="1227862"/>
                </a:lnTo>
                <a:lnTo>
                  <a:pt x="294999" y="1216118"/>
                </a:lnTo>
                <a:lnTo>
                  <a:pt x="302943" y="1204692"/>
                </a:lnTo>
                <a:lnTo>
                  <a:pt x="310887" y="1193266"/>
                </a:lnTo>
                <a:lnTo>
                  <a:pt x="319784" y="1182157"/>
                </a:lnTo>
                <a:lnTo>
                  <a:pt x="328682" y="1171683"/>
                </a:lnTo>
                <a:lnTo>
                  <a:pt x="338214" y="1161210"/>
                </a:lnTo>
                <a:lnTo>
                  <a:pt x="348383" y="1151370"/>
                </a:lnTo>
                <a:lnTo>
                  <a:pt x="358869" y="1141214"/>
                </a:lnTo>
                <a:lnTo>
                  <a:pt x="369673" y="1132010"/>
                </a:lnTo>
                <a:lnTo>
                  <a:pt x="380795" y="1123440"/>
                </a:lnTo>
                <a:lnTo>
                  <a:pt x="392552" y="1114871"/>
                </a:lnTo>
                <a:lnTo>
                  <a:pt x="404309" y="1106618"/>
                </a:lnTo>
                <a:lnTo>
                  <a:pt x="417020" y="1099001"/>
                </a:lnTo>
                <a:lnTo>
                  <a:pt x="429412" y="1091701"/>
                </a:lnTo>
                <a:lnTo>
                  <a:pt x="442441" y="1085036"/>
                </a:lnTo>
                <a:lnTo>
                  <a:pt x="455787" y="1078371"/>
                </a:lnTo>
                <a:lnTo>
                  <a:pt x="469450" y="1072340"/>
                </a:lnTo>
                <a:lnTo>
                  <a:pt x="483432" y="1066945"/>
                </a:lnTo>
                <a:lnTo>
                  <a:pt x="497413" y="1062184"/>
                </a:lnTo>
                <a:lnTo>
                  <a:pt x="511713" y="1057740"/>
                </a:lnTo>
                <a:lnTo>
                  <a:pt x="526648" y="1053614"/>
                </a:lnTo>
                <a:lnTo>
                  <a:pt x="541582" y="1050440"/>
                </a:lnTo>
                <a:lnTo>
                  <a:pt x="556835" y="1047266"/>
                </a:lnTo>
                <a:lnTo>
                  <a:pt x="571770" y="1044727"/>
                </a:lnTo>
                <a:lnTo>
                  <a:pt x="571770" y="960619"/>
                </a:lnTo>
                <a:lnTo>
                  <a:pt x="566050" y="958080"/>
                </a:lnTo>
                <a:lnTo>
                  <a:pt x="560013" y="954906"/>
                </a:lnTo>
                <a:lnTo>
                  <a:pt x="554293" y="951414"/>
                </a:lnTo>
                <a:lnTo>
                  <a:pt x="548573" y="948241"/>
                </a:lnTo>
                <a:lnTo>
                  <a:pt x="543171" y="944114"/>
                </a:lnTo>
                <a:lnTo>
                  <a:pt x="537452" y="939988"/>
                </a:lnTo>
                <a:lnTo>
                  <a:pt x="532367" y="935545"/>
                </a:lnTo>
                <a:lnTo>
                  <a:pt x="527283" y="931101"/>
                </a:lnTo>
                <a:lnTo>
                  <a:pt x="522199" y="926341"/>
                </a:lnTo>
                <a:lnTo>
                  <a:pt x="517433" y="921580"/>
                </a:lnTo>
                <a:lnTo>
                  <a:pt x="512348" y="916501"/>
                </a:lnTo>
                <a:lnTo>
                  <a:pt x="507900" y="911106"/>
                </a:lnTo>
                <a:lnTo>
                  <a:pt x="503769" y="905393"/>
                </a:lnTo>
                <a:lnTo>
                  <a:pt x="499638" y="899680"/>
                </a:lnTo>
                <a:lnTo>
                  <a:pt x="495507" y="893649"/>
                </a:lnTo>
                <a:lnTo>
                  <a:pt x="491694" y="887302"/>
                </a:lnTo>
                <a:lnTo>
                  <a:pt x="488198" y="880954"/>
                </a:lnTo>
                <a:lnTo>
                  <a:pt x="484385" y="874923"/>
                </a:lnTo>
                <a:lnTo>
                  <a:pt x="481525" y="868258"/>
                </a:lnTo>
                <a:lnTo>
                  <a:pt x="478665" y="861276"/>
                </a:lnTo>
                <a:lnTo>
                  <a:pt x="475488" y="854293"/>
                </a:lnTo>
                <a:lnTo>
                  <a:pt x="472946" y="847310"/>
                </a:lnTo>
                <a:lnTo>
                  <a:pt x="470404" y="839693"/>
                </a:lnTo>
                <a:lnTo>
                  <a:pt x="468497" y="832393"/>
                </a:lnTo>
                <a:lnTo>
                  <a:pt x="466273" y="825093"/>
                </a:lnTo>
                <a:lnTo>
                  <a:pt x="465002" y="817476"/>
                </a:lnTo>
                <a:lnTo>
                  <a:pt x="463413" y="809541"/>
                </a:lnTo>
                <a:lnTo>
                  <a:pt x="462142" y="801923"/>
                </a:lnTo>
                <a:lnTo>
                  <a:pt x="461189" y="793989"/>
                </a:lnTo>
                <a:lnTo>
                  <a:pt x="460871" y="786054"/>
                </a:lnTo>
                <a:lnTo>
                  <a:pt x="460235" y="777802"/>
                </a:lnTo>
                <a:lnTo>
                  <a:pt x="460235" y="769550"/>
                </a:lnTo>
                <a:lnTo>
                  <a:pt x="460553" y="759076"/>
                </a:lnTo>
                <a:lnTo>
                  <a:pt x="460871" y="748919"/>
                </a:lnTo>
                <a:lnTo>
                  <a:pt x="461824" y="738445"/>
                </a:lnTo>
                <a:lnTo>
                  <a:pt x="463413" y="728606"/>
                </a:lnTo>
                <a:lnTo>
                  <a:pt x="465637" y="718450"/>
                </a:lnTo>
                <a:lnTo>
                  <a:pt x="467862" y="708611"/>
                </a:lnTo>
                <a:lnTo>
                  <a:pt x="470404" y="699406"/>
                </a:lnTo>
                <a:lnTo>
                  <a:pt x="473264" y="690202"/>
                </a:lnTo>
                <a:lnTo>
                  <a:pt x="477077" y="680998"/>
                </a:lnTo>
                <a:lnTo>
                  <a:pt x="480890" y="672111"/>
                </a:lnTo>
                <a:lnTo>
                  <a:pt x="484703" y="663541"/>
                </a:lnTo>
                <a:lnTo>
                  <a:pt x="489152" y="655289"/>
                </a:lnTo>
                <a:lnTo>
                  <a:pt x="493918" y="647354"/>
                </a:lnTo>
                <a:lnTo>
                  <a:pt x="498685" y="639737"/>
                </a:lnTo>
                <a:lnTo>
                  <a:pt x="504404" y="632437"/>
                </a:lnTo>
                <a:lnTo>
                  <a:pt x="509806" y="624820"/>
                </a:lnTo>
                <a:lnTo>
                  <a:pt x="515844" y="618154"/>
                </a:lnTo>
                <a:lnTo>
                  <a:pt x="522199" y="611489"/>
                </a:lnTo>
                <a:lnTo>
                  <a:pt x="528236" y="605776"/>
                </a:lnTo>
                <a:lnTo>
                  <a:pt x="534909" y="600063"/>
                </a:lnTo>
                <a:lnTo>
                  <a:pt x="541900" y="594667"/>
                </a:lnTo>
                <a:lnTo>
                  <a:pt x="548891" y="589907"/>
                </a:lnTo>
                <a:lnTo>
                  <a:pt x="556517" y="585463"/>
                </a:lnTo>
                <a:lnTo>
                  <a:pt x="564144" y="581020"/>
                </a:lnTo>
                <a:lnTo>
                  <a:pt x="571770" y="577211"/>
                </a:lnTo>
                <a:lnTo>
                  <a:pt x="579714" y="574354"/>
                </a:lnTo>
                <a:lnTo>
                  <a:pt x="587658" y="571498"/>
                </a:lnTo>
                <a:lnTo>
                  <a:pt x="595920" y="569276"/>
                </a:lnTo>
                <a:lnTo>
                  <a:pt x="604499" y="567372"/>
                </a:lnTo>
                <a:lnTo>
                  <a:pt x="612761" y="566420"/>
                </a:lnTo>
                <a:lnTo>
                  <a:pt x="621659" y="565468"/>
                </a:lnTo>
                <a:lnTo>
                  <a:pt x="630238" y="565150"/>
                </a:lnTo>
                <a:close/>
                <a:moveTo>
                  <a:pt x="181836" y="158167"/>
                </a:moveTo>
                <a:lnTo>
                  <a:pt x="178980" y="158484"/>
                </a:lnTo>
                <a:lnTo>
                  <a:pt x="176441" y="159119"/>
                </a:lnTo>
                <a:lnTo>
                  <a:pt x="173902" y="160390"/>
                </a:lnTo>
                <a:lnTo>
                  <a:pt x="171681" y="161343"/>
                </a:lnTo>
                <a:lnTo>
                  <a:pt x="169459" y="162613"/>
                </a:lnTo>
                <a:lnTo>
                  <a:pt x="167238" y="163884"/>
                </a:lnTo>
                <a:lnTo>
                  <a:pt x="165651" y="165789"/>
                </a:lnTo>
                <a:lnTo>
                  <a:pt x="164065" y="167695"/>
                </a:lnTo>
                <a:lnTo>
                  <a:pt x="162478" y="169918"/>
                </a:lnTo>
                <a:lnTo>
                  <a:pt x="161209" y="171824"/>
                </a:lnTo>
                <a:lnTo>
                  <a:pt x="159939" y="174364"/>
                </a:lnTo>
                <a:lnTo>
                  <a:pt x="159305" y="176588"/>
                </a:lnTo>
                <a:lnTo>
                  <a:pt x="158352" y="179128"/>
                </a:lnTo>
                <a:lnTo>
                  <a:pt x="158035" y="181669"/>
                </a:lnTo>
                <a:lnTo>
                  <a:pt x="157718" y="184210"/>
                </a:lnTo>
                <a:lnTo>
                  <a:pt x="157718" y="1440334"/>
                </a:lnTo>
                <a:lnTo>
                  <a:pt x="158352" y="1447639"/>
                </a:lnTo>
                <a:lnTo>
                  <a:pt x="159622" y="1454944"/>
                </a:lnTo>
                <a:lnTo>
                  <a:pt x="161526" y="1463202"/>
                </a:lnTo>
                <a:lnTo>
                  <a:pt x="164065" y="1471142"/>
                </a:lnTo>
                <a:lnTo>
                  <a:pt x="167238" y="1479717"/>
                </a:lnTo>
                <a:lnTo>
                  <a:pt x="171363" y="1488610"/>
                </a:lnTo>
                <a:lnTo>
                  <a:pt x="175806" y="1497185"/>
                </a:lnTo>
                <a:lnTo>
                  <a:pt x="181201" y="1506078"/>
                </a:lnTo>
                <a:lnTo>
                  <a:pt x="187230" y="1514336"/>
                </a:lnTo>
                <a:lnTo>
                  <a:pt x="193577" y="1522594"/>
                </a:lnTo>
                <a:lnTo>
                  <a:pt x="200876" y="1530534"/>
                </a:lnTo>
                <a:lnTo>
                  <a:pt x="208492" y="1538156"/>
                </a:lnTo>
                <a:lnTo>
                  <a:pt x="216743" y="1545143"/>
                </a:lnTo>
                <a:lnTo>
                  <a:pt x="225629" y="1551178"/>
                </a:lnTo>
                <a:lnTo>
                  <a:pt x="230389" y="1554354"/>
                </a:lnTo>
                <a:lnTo>
                  <a:pt x="235149" y="1557212"/>
                </a:lnTo>
                <a:lnTo>
                  <a:pt x="239909" y="1559753"/>
                </a:lnTo>
                <a:lnTo>
                  <a:pt x="244669" y="1561976"/>
                </a:lnTo>
                <a:lnTo>
                  <a:pt x="1018979" y="1561976"/>
                </a:lnTo>
                <a:lnTo>
                  <a:pt x="1018979" y="1559436"/>
                </a:lnTo>
                <a:lnTo>
                  <a:pt x="1028182" y="1554354"/>
                </a:lnTo>
                <a:lnTo>
                  <a:pt x="1037068" y="1548637"/>
                </a:lnTo>
                <a:lnTo>
                  <a:pt x="1045636" y="1542603"/>
                </a:lnTo>
                <a:lnTo>
                  <a:pt x="1053252" y="1535298"/>
                </a:lnTo>
                <a:lnTo>
                  <a:pt x="1060551" y="1527993"/>
                </a:lnTo>
                <a:lnTo>
                  <a:pt x="1067532" y="1520370"/>
                </a:lnTo>
                <a:lnTo>
                  <a:pt x="1073879" y="1512113"/>
                </a:lnTo>
                <a:lnTo>
                  <a:pt x="1079908" y="1504173"/>
                </a:lnTo>
                <a:lnTo>
                  <a:pt x="1084986" y="1495597"/>
                </a:lnTo>
                <a:lnTo>
                  <a:pt x="1089429" y="1487022"/>
                </a:lnTo>
                <a:lnTo>
                  <a:pt x="1093554" y="1479082"/>
                </a:lnTo>
                <a:lnTo>
                  <a:pt x="1096728" y="1470507"/>
                </a:lnTo>
                <a:lnTo>
                  <a:pt x="1099266" y="1462884"/>
                </a:lnTo>
                <a:lnTo>
                  <a:pt x="1101170" y="1454626"/>
                </a:lnTo>
                <a:lnTo>
                  <a:pt x="1102122" y="1447321"/>
                </a:lnTo>
                <a:lnTo>
                  <a:pt x="1102757" y="1440334"/>
                </a:lnTo>
                <a:lnTo>
                  <a:pt x="1102757" y="184210"/>
                </a:lnTo>
                <a:lnTo>
                  <a:pt x="1102122" y="181669"/>
                </a:lnTo>
                <a:lnTo>
                  <a:pt x="1101805" y="179128"/>
                </a:lnTo>
                <a:lnTo>
                  <a:pt x="1101170" y="176588"/>
                </a:lnTo>
                <a:lnTo>
                  <a:pt x="1100536" y="174364"/>
                </a:lnTo>
                <a:lnTo>
                  <a:pt x="1099266" y="171824"/>
                </a:lnTo>
                <a:lnTo>
                  <a:pt x="1097997" y="169918"/>
                </a:lnTo>
                <a:lnTo>
                  <a:pt x="1096410" y="167695"/>
                </a:lnTo>
                <a:lnTo>
                  <a:pt x="1094824" y="165789"/>
                </a:lnTo>
                <a:lnTo>
                  <a:pt x="1092919" y="163884"/>
                </a:lnTo>
                <a:lnTo>
                  <a:pt x="1090698" y="162613"/>
                </a:lnTo>
                <a:lnTo>
                  <a:pt x="1088794" y="161343"/>
                </a:lnTo>
                <a:lnTo>
                  <a:pt x="1086573" y="160390"/>
                </a:lnTo>
                <a:lnTo>
                  <a:pt x="1083716" y="159119"/>
                </a:lnTo>
                <a:lnTo>
                  <a:pt x="1081178" y="158484"/>
                </a:lnTo>
                <a:lnTo>
                  <a:pt x="1078639" y="158167"/>
                </a:lnTo>
                <a:lnTo>
                  <a:pt x="1076100" y="158167"/>
                </a:lnTo>
                <a:lnTo>
                  <a:pt x="184374" y="158167"/>
                </a:lnTo>
                <a:lnTo>
                  <a:pt x="181836" y="158167"/>
                </a:lnTo>
                <a:close/>
                <a:moveTo>
                  <a:pt x="1414463" y="157162"/>
                </a:moveTo>
                <a:lnTo>
                  <a:pt x="2153497" y="157162"/>
                </a:lnTo>
                <a:lnTo>
                  <a:pt x="2161123" y="157162"/>
                </a:lnTo>
                <a:lnTo>
                  <a:pt x="2169066" y="158114"/>
                </a:lnTo>
                <a:lnTo>
                  <a:pt x="2176374" y="158749"/>
                </a:lnTo>
                <a:lnTo>
                  <a:pt x="2183364" y="160337"/>
                </a:lnTo>
                <a:lnTo>
                  <a:pt x="2190671" y="161924"/>
                </a:lnTo>
                <a:lnTo>
                  <a:pt x="2197661" y="163829"/>
                </a:lnTo>
                <a:lnTo>
                  <a:pt x="2204651" y="166052"/>
                </a:lnTo>
                <a:lnTo>
                  <a:pt x="2211324" y="168909"/>
                </a:lnTo>
                <a:lnTo>
                  <a:pt x="2217996" y="172084"/>
                </a:lnTo>
                <a:lnTo>
                  <a:pt x="2224350" y="174942"/>
                </a:lnTo>
                <a:lnTo>
                  <a:pt x="2230387" y="178752"/>
                </a:lnTo>
                <a:lnTo>
                  <a:pt x="2236424" y="182562"/>
                </a:lnTo>
                <a:lnTo>
                  <a:pt x="2242461" y="186689"/>
                </a:lnTo>
                <a:lnTo>
                  <a:pt x="2247862" y="191134"/>
                </a:lnTo>
                <a:lnTo>
                  <a:pt x="2253264" y="195579"/>
                </a:lnTo>
                <a:lnTo>
                  <a:pt x="2258665" y="200659"/>
                </a:lnTo>
                <a:lnTo>
                  <a:pt x="2263431" y="206057"/>
                </a:lnTo>
                <a:lnTo>
                  <a:pt x="2268197" y="211137"/>
                </a:lnTo>
                <a:lnTo>
                  <a:pt x="2272645" y="216852"/>
                </a:lnTo>
                <a:lnTo>
                  <a:pt x="2276776" y="222567"/>
                </a:lnTo>
                <a:lnTo>
                  <a:pt x="2280270" y="228917"/>
                </a:lnTo>
                <a:lnTo>
                  <a:pt x="2284083" y="234949"/>
                </a:lnTo>
                <a:lnTo>
                  <a:pt x="2287261" y="241299"/>
                </a:lnTo>
                <a:lnTo>
                  <a:pt x="2290438" y="247967"/>
                </a:lnTo>
                <a:lnTo>
                  <a:pt x="2292980" y="254634"/>
                </a:lnTo>
                <a:lnTo>
                  <a:pt x="2295204" y="261619"/>
                </a:lnTo>
                <a:lnTo>
                  <a:pt x="2297428" y="268604"/>
                </a:lnTo>
                <a:lnTo>
                  <a:pt x="2298699" y="275589"/>
                </a:lnTo>
                <a:lnTo>
                  <a:pt x="2300287" y="282892"/>
                </a:lnTo>
                <a:lnTo>
                  <a:pt x="2300923" y="290512"/>
                </a:lnTo>
                <a:lnTo>
                  <a:pt x="2301876" y="297814"/>
                </a:lnTo>
                <a:lnTo>
                  <a:pt x="2301876" y="305434"/>
                </a:lnTo>
                <a:lnTo>
                  <a:pt x="2301876" y="1484630"/>
                </a:lnTo>
                <a:lnTo>
                  <a:pt x="2301876" y="1497013"/>
                </a:lnTo>
                <a:lnTo>
                  <a:pt x="2300923" y="1509078"/>
                </a:lnTo>
                <a:lnTo>
                  <a:pt x="2299652" y="1521143"/>
                </a:lnTo>
                <a:lnTo>
                  <a:pt x="2298063" y="1533208"/>
                </a:lnTo>
                <a:lnTo>
                  <a:pt x="2295839" y="1544638"/>
                </a:lnTo>
                <a:lnTo>
                  <a:pt x="2292980" y="1555433"/>
                </a:lnTo>
                <a:lnTo>
                  <a:pt x="2289802" y="1566545"/>
                </a:lnTo>
                <a:lnTo>
                  <a:pt x="2285990" y="1577340"/>
                </a:lnTo>
                <a:lnTo>
                  <a:pt x="2281859" y="1587500"/>
                </a:lnTo>
                <a:lnTo>
                  <a:pt x="2277093" y="1597660"/>
                </a:lnTo>
                <a:lnTo>
                  <a:pt x="2271374" y="1607503"/>
                </a:lnTo>
                <a:lnTo>
                  <a:pt x="2265655" y="1616710"/>
                </a:lnTo>
                <a:lnTo>
                  <a:pt x="2259300" y="1625918"/>
                </a:lnTo>
                <a:lnTo>
                  <a:pt x="2252310" y="1634808"/>
                </a:lnTo>
                <a:lnTo>
                  <a:pt x="2244685" y="1643063"/>
                </a:lnTo>
                <a:lnTo>
                  <a:pt x="2236424" y="1651000"/>
                </a:lnTo>
                <a:lnTo>
                  <a:pt x="2227846" y="1658938"/>
                </a:lnTo>
                <a:lnTo>
                  <a:pt x="2218631" y="1665923"/>
                </a:lnTo>
                <a:lnTo>
                  <a:pt x="2208782" y="1672908"/>
                </a:lnTo>
                <a:lnTo>
                  <a:pt x="2198297" y="1678940"/>
                </a:lnTo>
                <a:lnTo>
                  <a:pt x="2187494" y="1684973"/>
                </a:lnTo>
                <a:lnTo>
                  <a:pt x="2176056" y="1690370"/>
                </a:lnTo>
                <a:lnTo>
                  <a:pt x="2163664" y="1695450"/>
                </a:lnTo>
                <a:lnTo>
                  <a:pt x="2150955" y="1700213"/>
                </a:lnTo>
                <a:lnTo>
                  <a:pt x="2137611" y="1704023"/>
                </a:lnTo>
                <a:lnTo>
                  <a:pt x="2123631" y="1707515"/>
                </a:lnTo>
                <a:lnTo>
                  <a:pt x="2108698" y="1710373"/>
                </a:lnTo>
                <a:lnTo>
                  <a:pt x="2093764" y="1712913"/>
                </a:lnTo>
                <a:lnTo>
                  <a:pt x="2077878" y="1715135"/>
                </a:lnTo>
                <a:lnTo>
                  <a:pt x="2061038" y="1716405"/>
                </a:lnTo>
                <a:lnTo>
                  <a:pt x="2044199" y="1717358"/>
                </a:lnTo>
                <a:lnTo>
                  <a:pt x="2026406" y="1717675"/>
                </a:lnTo>
                <a:lnTo>
                  <a:pt x="1563159" y="1717675"/>
                </a:lnTo>
                <a:lnTo>
                  <a:pt x="1551721" y="1717358"/>
                </a:lnTo>
                <a:lnTo>
                  <a:pt x="1540601" y="1716723"/>
                </a:lnTo>
                <a:lnTo>
                  <a:pt x="1529163" y="1715453"/>
                </a:lnTo>
                <a:lnTo>
                  <a:pt x="1518042" y="1714500"/>
                </a:lnTo>
                <a:lnTo>
                  <a:pt x="1506922" y="1712913"/>
                </a:lnTo>
                <a:lnTo>
                  <a:pt x="1495801" y="1710690"/>
                </a:lnTo>
                <a:lnTo>
                  <a:pt x="1485634" y="1709103"/>
                </a:lnTo>
                <a:lnTo>
                  <a:pt x="1475149" y="1706880"/>
                </a:lnTo>
                <a:lnTo>
                  <a:pt x="1456085" y="1701800"/>
                </a:lnTo>
                <a:lnTo>
                  <a:pt x="1439246" y="1697038"/>
                </a:lnTo>
                <a:lnTo>
                  <a:pt x="1424948" y="1692593"/>
                </a:lnTo>
                <a:lnTo>
                  <a:pt x="1414463" y="1688783"/>
                </a:lnTo>
                <a:lnTo>
                  <a:pt x="1414463" y="1342708"/>
                </a:lnTo>
                <a:lnTo>
                  <a:pt x="1416687" y="1347470"/>
                </a:lnTo>
                <a:lnTo>
                  <a:pt x="1419229" y="1352233"/>
                </a:lnTo>
                <a:lnTo>
                  <a:pt x="1422088" y="1357630"/>
                </a:lnTo>
                <a:lnTo>
                  <a:pt x="1425583" y="1362393"/>
                </a:lnTo>
                <a:lnTo>
                  <a:pt x="1429078" y="1367473"/>
                </a:lnTo>
                <a:lnTo>
                  <a:pt x="1433209" y="1372235"/>
                </a:lnTo>
                <a:lnTo>
                  <a:pt x="1437657" y="1376998"/>
                </a:lnTo>
                <a:lnTo>
                  <a:pt x="1442105" y="1381760"/>
                </a:lnTo>
                <a:lnTo>
                  <a:pt x="1446871" y="1386523"/>
                </a:lnTo>
                <a:lnTo>
                  <a:pt x="1451637" y="1390968"/>
                </a:lnTo>
                <a:lnTo>
                  <a:pt x="1456721" y="1395413"/>
                </a:lnTo>
                <a:lnTo>
                  <a:pt x="1462440" y="1399540"/>
                </a:lnTo>
                <a:lnTo>
                  <a:pt x="1467523" y="1403350"/>
                </a:lnTo>
                <a:lnTo>
                  <a:pt x="1472925" y="1406525"/>
                </a:lnTo>
                <a:lnTo>
                  <a:pt x="1478644" y="1410018"/>
                </a:lnTo>
                <a:lnTo>
                  <a:pt x="1484045" y="1412558"/>
                </a:lnTo>
                <a:lnTo>
                  <a:pt x="1484045" y="1413510"/>
                </a:lnTo>
                <a:lnTo>
                  <a:pt x="2108062" y="1413510"/>
                </a:lnTo>
                <a:lnTo>
                  <a:pt x="2108062" y="1410335"/>
                </a:lnTo>
                <a:lnTo>
                  <a:pt x="2115370" y="1406208"/>
                </a:lnTo>
                <a:lnTo>
                  <a:pt x="2122360" y="1401763"/>
                </a:lnTo>
                <a:lnTo>
                  <a:pt x="2129032" y="1396683"/>
                </a:lnTo>
                <a:lnTo>
                  <a:pt x="2135387" y="1390968"/>
                </a:lnTo>
                <a:lnTo>
                  <a:pt x="2141106" y="1385253"/>
                </a:lnTo>
                <a:lnTo>
                  <a:pt x="2146825" y="1378903"/>
                </a:lnTo>
                <a:lnTo>
                  <a:pt x="2151909" y="1372235"/>
                </a:lnTo>
                <a:lnTo>
                  <a:pt x="2156357" y="1365568"/>
                </a:lnTo>
                <a:lnTo>
                  <a:pt x="2160805" y="1358900"/>
                </a:lnTo>
                <a:lnTo>
                  <a:pt x="2163982" y="1352233"/>
                </a:lnTo>
                <a:lnTo>
                  <a:pt x="2167477" y="1345883"/>
                </a:lnTo>
                <a:lnTo>
                  <a:pt x="2170019" y="1339215"/>
                </a:lnTo>
                <a:lnTo>
                  <a:pt x="2172243" y="1332865"/>
                </a:lnTo>
                <a:lnTo>
                  <a:pt x="2173832" y="1326515"/>
                </a:lnTo>
                <a:lnTo>
                  <a:pt x="2174467" y="1320800"/>
                </a:lnTo>
                <a:lnTo>
                  <a:pt x="2174785" y="1315085"/>
                </a:lnTo>
                <a:lnTo>
                  <a:pt x="2174785" y="305434"/>
                </a:lnTo>
                <a:lnTo>
                  <a:pt x="2174467" y="301307"/>
                </a:lnTo>
                <a:lnTo>
                  <a:pt x="2172879" y="297497"/>
                </a:lnTo>
                <a:lnTo>
                  <a:pt x="2171290" y="293687"/>
                </a:lnTo>
                <a:lnTo>
                  <a:pt x="2168430" y="290829"/>
                </a:lnTo>
                <a:lnTo>
                  <a:pt x="2165571" y="288289"/>
                </a:lnTo>
                <a:lnTo>
                  <a:pt x="2162076" y="286067"/>
                </a:lnTo>
                <a:lnTo>
                  <a:pt x="2157945" y="284797"/>
                </a:lnTo>
                <a:lnTo>
                  <a:pt x="2153497" y="284479"/>
                </a:lnTo>
                <a:lnTo>
                  <a:pt x="1414463" y="284479"/>
                </a:lnTo>
                <a:lnTo>
                  <a:pt x="1414463" y="157162"/>
                </a:lnTo>
                <a:close/>
                <a:moveTo>
                  <a:pt x="184374" y="0"/>
                </a:moveTo>
                <a:lnTo>
                  <a:pt x="1076100" y="0"/>
                </a:lnTo>
                <a:lnTo>
                  <a:pt x="1085621" y="317"/>
                </a:lnTo>
                <a:lnTo>
                  <a:pt x="1094824" y="953"/>
                </a:lnTo>
                <a:lnTo>
                  <a:pt x="1104026" y="1905"/>
                </a:lnTo>
                <a:lnTo>
                  <a:pt x="1113229" y="3494"/>
                </a:lnTo>
                <a:lnTo>
                  <a:pt x="1122115" y="5717"/>
                </a:lnTo>
                <a:lnTo>
                  <a:pt x="1131000" y="8258"/>
                </a:lnTo>
                <a:lnTo>
                  <a:pt x="1139568" y="11434"/>
                </a:lnTo>
                <a:lnTo>
                  <a:pt x="1147502" y="14610"/>
                </a:lnTo>
                <a:lnTo>
                  <a:pt x="1156070" y="18421"/>
                </a:lnTo>
                <a:lnTo>
                  <a:pt x="1163686" y="22232"/>
                </a:lnTo>
                <a:lnTo>
                  <a:pt x="1171620" y="26679"/>
                </a:lnTo>
                <a:lnTo>
                  <a:pt x="1178919" y="31443"/>
                </a:lnTo>
                <a:lnTo>
                  <a:pt x="1186217" y="36842"/>
                </a:lnTo>
                <a:lnTo>
                  <a:pt x="1193199" y="42241"/>
                </a:lnTo>
                <a:lnTo>
                  <a:pt x="1199863" y="47640"/>
                </a:lnTo>
                <a:lnTo>
                  <a:pt x="1206210" y="53993"/>
                </a:lnTo>
                <a:lnTo>
                  <a:pt x="1212557" y="60345"/>
                </a:lnTo>
                <a:lnTo>
                  <a:pt x="1218269" y="67014"/>
                </a:lnTo>
                <a:lnTo>
                  <a:pt x="1223981" y="74002"/>
                </a:lnTo>
                <a:lnTo>
                  <a:pt x="1229058" y="81306"/>
                </a:lnTo>
                <a:lnTo>
                  <a:pt x="1233818" y="88611"/>
                </a:lnTo>
                <a:lnTo>
                  <a:pt x="1238261" y="96551"/>
                </a:lnTo>
                <a:lnTo>
                  <a:pt x="1242387" y="104492"/>
                </a:lnTo>
                <a:lnTo>
                  <a:pt x="1245877" y="112749"/>
                </a:lnTo>
                <a:lnTo>
                  <a:pt x="1249368" y="121325"/>
                </a:lnTo>
                <a:lnTo>
                  <a:pt x="1252224" y="129582"/>
                </a:lnTo>
                <a:lnTo>
                  <a:pt x="1254446" y="138475"/>
                </a:lnTo>
                <a:lnTo>
                  <a:pt x="1256667" y="147368"/>
                </a:lnTo>
                <a:lnTo>
                  <a:pt x="1258254" y="156261"/>
                </a:lnTo>
                <a:lnTo>
                  <a:pt x="1259523" y="165472"/>
                </a:lnTo>
                <a:lnTo>
                  <a:pt x="1259840" y="175000"/>
                </a:lnTo>
                <a:lnTo>
                  <a:pt x="1260475" y="184210"/>
                </a:lnTo>
                <a:lnTo>
                  <a:pt x="1260475" y="1651541"/>
                </a:lnTo>
                <a:lnTo>
                  <a:pt x="1259840" y="1667103"/>
                </a:lnTo>
                <a:lnTo>
                  <a:pt x="1259206" y="1682348"/>
                </a:lnTo>
                <a:lnTo>
                  <a:pt x="1257936" y="1696958"/>
                </a:lnTo>
                <a:lnTo>
                  <a:pt x="1255715" y="1711886"/>
                </a:lnTo>
                <a:lnTo>
                  <a:pt x="1252542" y="1725860"/>
                </a:lnTo>
                <a:lnTo>
                  <a:pt x="1249368" y="1739835"/>
                </a:lnTo>
                <a:lnTo>
                  <a:pt x="1245243" y="1753492"/>
                </a:lnTo>
                <a:lnTo>
                  <a:pt x="1240483" y="1766831"/>
                </a:lnTo>
                <a:lnTo>
                  <a:pt x="1235405" y="1779535"/>
                </a:lnTo>
                <a:lnTo>
                  <a:pt x="1229376" y="1792239"/>
                </a:lnTo>
                <a:lnTo>
                  <a:pt x="1222712" y="1804308"/>
                </a:lnTo>
                <a:lnTo>
                  <a:pt x="1215413" y="1816060"/>
                </a:lnTo>
                <a:lnTo>
                  <a:pt x="1207162" y="1827493"/>
                </a:lnTo>
                <a:lnTo>
                  <a:pt x="1198594" y="1838292"/>
                </a:lnTo>
                <a:lnTo>
                  <a:pt x="1189391" y="1848773"/>
                </a:lnTo>
                <a:lnTo>
                  <a:pt x="1179236" y="1858619"/>
                </a:lnTo>
                <a:lnTo>
                  <a:pt x="1168129" y="1868147"/>
                </a:lnTo>
                <a:lnTo>
                  <a:pt x="1156705" y="1877040"/>
                </a:lnTo>
                <a:lnTo>
                  <a:pt x="1144646" y="1885615"/>
                </a:lnTo>
                <a:lnTo>
                  <a:pt x="1131635" y="1893555"/>
                </a:lnTo>
                <a:lnTo>
                  <a:pt x="1117989" y="1900860"/>
                </a:lnTo>
                <a:lnTo>
                  <a:pt x="1103709" y="1907530"/>
                </a:lnTo>
                <a:lnTo>
                  <a:pt x="1088794" y="1913882"/>
                </a:lnTo>
                <a:lnTo>
                  <a:pt x="1072927" y="1919599"/>
                </a:lnTo>
                <a:lnTo>
                  <a:pt x="1056108" y="1924680"/>
                </a:lnTo>
                <a:lnTo>
                  <a:pt x="1038654" y="1929127"/>
                </a:lnTo>
                <a:lnTo>
                  <a:pt x="1020566" y="1932620"/>
                </a:lnTo>
                <a:lnTo>
                  <a:pt x="1001526" y="1936114"/>
                </a:lnTo>
                <a:lnTo>
                  <a:pt x="981851" y="1938337"/>
                </a:lnTo>
                <a:lnTo>
                  <a:pt x="961541" y="1940243"/>
                </a:lnTo>
                <a:lnTo>
                  <a:pt x="940279" y="1941196"/>
                </a:lnTo>
                <a:lnTo>
                  <a:pt x="918065" y="1941513"/>
                </a:lnTo>
                <a:lnTo>
                  <a:pt x="342410" y="1941513"/>
                </a:lnTo>
                <a:lnTo>
                  <a:pt x="321148" y="1941196"/>
                </a:lnTo>
                <a:lnTo>
                  <a:pt x="300839" y="1940243"/>
                </a:lnTo>
                <a:lnTo>
                  <a:pt x="280846" y="1938337"/>
                </a:lnTo>
                <a:lnTo>
                  <a:pt x="261806" y="1936114"/>
                </a:lnTo>
                <a:lnTo>
                  <a:pt x="242765" y="1932938"/>
                </a:lnTo>
                <a:lnTo>
                  <a:pt x="225311" y="1929444"/>
                </a:lnTo>
                <a:lnTo>
                  <a:pt x="208175" y="1924998"/>
                </a:lnTo>
                <a:lnTo>
                  <a:pt x="191673" y="1920234"/>
                </a:lnTo>
                <a:lnTo>
                  <a:pt x="175806" y="1914517"/>
                </a:lnTo>
                <a:lnTo>
                  <a:pt x="160574" y="1908800"/>
                </a:lnTo>
                <a:lnTo>
                  <a:pt x="146294" y="1902130"/>
                </a:lnTo>
                <a:lnTo>
                  <a:pt x="132648" y="1894825"/>
                </a:lnTo>
                <a:lnTo>
                  <a:pt x="119954" y="1886885"/>
                </a:lnTo>
                <a:lnTo>
                  <a:pt x="107261" y="1878628"/>
                </a:lnTo>
                <a:lnTo>
                  <a:pt x="95836" y="1869735"/>
                </a:lnTo>
                <a:lnTo>
                  <a:pt x="84730" y="1860524"/>
                </a:lnTo>
                <a:lnTo>
                  <a:pt x="74575" y="1850361"/>
                </a:lnTo>
                <a:lnTo>
                  <a:pt x="64737" y="1840198"/>
                </a:lnTo>
                <a:lnTo>
                  <a:pt x="55534" y="1829399"/>
                </a:lnTo>
                <a:lnTo>
                  <a:pt x="47601" y="1817965"/>
                </a:lnTo>
                <a:lnTo>
                  <a:pt x="39985" y="1806532"/>
                </a:lnTo>
                <a:lnTo>
                  <a:pt x="32686" y="1794463"/>
                </a:lnTo>
                <a:lnTo>
                  <a:pt x="26656" y="1781758"/>
                </a:lnTo>
                <a:lnTo>
                  <a:pt x="20944" y="1768419"/>
                </a:lnTo>
                <a:lnTo>
                  <a:pt x="16184" y="1755397"/>
                </a:lnTo>
                <a:lnTo>
                  <a:pt x="11741" y="1741740"/>
                </a:lnTo>
                <a:lnTo>
                  <a:pt x="8251" y="1727131"/>
                </a:lnTo>
                <a:lnTo>
                  <a:pt x="5077" y="1712838"/>
                </a:lnTo>
                <a:lnTo>
                  <a:pt x="2856" y="1698229"/>
                </a:lnTo>
                <a:lnTo>
                  <a:pt x="1269" y="1682984"/>
                </a:lnTo>
                <a:lnTo>
                  <a:pt x="317" y="1667421"/>
                </a:lnTo>
                <a:lnTo>
                  <a:pt x="0" y="1651541"/>
                </a:lnTo>
                <a:lnTo>
                  <a:pt x="0" y="184210"/>
                </a:lnTo>
                <a:lnTo>
                  <a:pt x="0" y="175000"/>
                </a:lnTo>
                <a:lnTo>
                  <a:pt x="634" y="165472"/>
                </a:lnTo>
                <a:lnTo>
                  <a:pt x="1904" y="156261"/>
                </a:lnTo>
                <a:lnTo>
                  <a:pt x="3808" y="147368"/>
                </a:lnTo>
                <a:lnTo>
                  <a:pt x="6029" y="138475"/>
                </a:lnTo>
                <a:lnTo>
                  <a:pt x="8251" y="129582"/>
                </a:lnTo>
                <a:lnTo>
                  <a:pt x="11107" y="121325"/>
                </a:lnTo>
                <a:lnTo>
                  <a:pt x="14280" y="112749"/>
                </a:lnTo>
                <a:lnTo>
                  <a:pt x="18088" y="104492"/>
                </a:lnTo>
                <a:lnTo>
                  <a:pt x="22214" y="96551"/>
                </a:lnTo>
                <a:lnTo>
                  <a:pt x="26656" y="88611"/>
                </a:lnTo>
                <a:lnTo>
                  <a:pt x="31416" y="81306"/>
                </a:lnTo>
                <a:lnTo>
                  <a:pt x="36494" y="74002"/>
                </a:lnTo>
                <a:lnTo>
                  <a:pt x="41889" y="67014"/>
                </a:lnTo>
                <a:lnTo>
                  <a:pt x="47918" y="60345"/>
                </a:lnTo>
                <a:lnTo>
                  <a:pt x="53948" y="53993"/>
                </a:lnTo>
                <a:lnTo>
                  <a:pt x="60612" y="47640"/>
                </a:lnTo>
                <a:lnTo>
                  <a:pt x="66959" y="42241"/>
                </a:lnTo>
                <a:lnTo>
                  <a:pt x="74257" y="36842"/>
                </a:lnTo>
                <a:lnTo>
                  <a:pt x="81556" y="31443"/>
                </a:lnTo>
                <a:lnTo>
                  <a:pt x="88855" y="26679"/>
                </a:lnTo>
                <a:lnTo>
                  <a:pt x="96471" y="22232"/>
                </a:lnTo>
                <a:lnTo>
                  <a:pt x="104405" y="18421"/>
                </a:lnTo>
                <a:lnTo>
                  <a:pt x="112338" y="14610"/>
                </a:lnTo>
                <a:lnTo>
                  <a:pt x="120906" y="11434"/>
                </a:lnTo>
                <a:lnTo>
                  <a:pt x="129475" y="8258"/>
                </a:lnTo>
                <a:lnTo>
                  <a:pt x="138360" y="5717"/>
                </a:lnTo>
                <a:lnTo>
                  <a:pt x="146928" y="3494"/>
                </a:lnTo>
                <a:lnTo>
                  <a:pt x="156131" y="1905"/>
                </a:lnTo>
                <a:lnTo>
                  <a:pt x="165651" y="953"/>
                </a:lnTo>
                <a:lnTo>
                  <a:pt x="174854" y="317"/>
                </a:lnTo>
                <a:lnTo>
                  <a:pt x="184374" y="0"/>
                </a:lnTo>
                <a:close/>
              </a:path>
            </a:pathLst>
          </a:custGeom>
          <a:solidFill>
            <a:schemeClr val="accent1"/>
          </a:solidFill>
          <a:ln w="9525">
            <a:noFill/>
          </a:ln>
        </p:spPr>
        <p:txBody>
          <a:bodyPr anchor="ctr" anchorCtr="0"/>
          <a:p>
            <a:pPr algn="ctr"/>
            <a:endParaRPr sz="10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40" name="文本框 2"/>
          <p:cNvSpPr/>
          <p:nvPr/>
        </p:nvSpPr>
        <p:spPr>
          <a:xfrm>
            <a:off x="4929277" y="854076"/>
            <a:ext cx="3624262" cy="709612"/>
          </a:xfrm>
          <a:prstGeom prst="rect">
            <a:avLst/>
          </a:prstGeom>
          <a:noFill/>
          <a:ln w="9525">
            <a:noFill/>
          </a:ln>
        </p:spPr>
        <p:txBody>
          <a:bodyPr wrap="square" anchor="t" anchorCtr="0">
            <a:spAutoFit/>
          </a:bodyPr>
          <a:p>
            <a:pPr marL="285750" indent="-285750">
              <a:lnSpc>
                <a:spcPct val="150000"/>
              </a:lnSpc>
              <a:buFont typeface="Wingdings" panose="05000000000000000000" pitchFamily="2" charset="2"/>
              <a:buChar char=""/>
            </a:pP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与近百家保司建立长期良好的合作关系</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a:p>
            <a:pPr marL="285750" indent="-285750">
              <a:lnSpc>
                <a:spcPct val="150000"/>
              </a:lnSpc>
              <a:buFont typeface="Wingdings" panose="05000000000000000000" pitchFamily="2" charset="2"/>
              <a:buChar char=""/>
            </a:pP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丰富的东方系列产品库（产品定制</a:t>
            </a:r>
            <a:r>
              <a:rPr lang="en-US" altLang="zh-CN" sz="900" dirty="0">
                <a:solidFill>
                  <a:srgbClr val="000000"/>
                </a:solidFill>
                <a:latin typeface="微软雅黑" panose="020B0503020204020204" charset="-122"/>
                <a:ea typeface="微软雅黑" panose="020B0503020204020204" charset="-122"/>
                <a:sym typeface="微软雅黑" panose="020B0503020204020204" charset="-122"/>
              </a:rPr>
              <a:t>+</a:t>
            </a: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精选）</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a:p>
            <a:pPr marL="285750" indent="-285750">
              <a:lnSpc>
                <a:spcPct val="150000"/>
              </a:lnSpc>
              <a:buFont typeface="Wingdings" panose="05000000000000000000" pitchFamily="2" charset="2"/>
              <a:buChar char=""/>
            </a:pP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国内顶尖精算团队的合作伙伴</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p:txBody>
      </p:sp>
      <p:grpSp>
        <p:nvGrpSpPr>
          <p:cNvPr id="41" name="Group 3"/>
          <p:cNvGrpSpPr/>
          <p:nvPr/>
        </p:nvGrpSpPr>
        <p:grpSpPr>
          <a:xfrm>
            <a:off x="5408702" y="1648884"/>
            <a:ext cx="3416299" cy="968375"/>
            <a:chOff x="5513388" y="1689799"/>
            <a:chExt cx="3416299" cy="968375"/>
          </a:xfrm>
        </p:grpSpPr>
        <p:sp>
          <p:nvSpPr>
            <p:cNvPr id="42" name="矩形 102"/>
            <p:cNvSpPr/>
            <p:nvPr/>
          </p:nvSpPr>
          <p:spPr>
            <a:xfrm>
              <a:off x="5513388" y="1689799"/>
              <a:ext cx="2108239" cy="323151"/>
            </a:xfrm>
            <a:prstGeom prst="rect">
              <a:avLst/>
            </a:prstGeom>
            <a:noFill/>
            <a:ln w="9525">
              <a:noFill/>
            </a:ln>
          </p:spPr>
          <p:txBody>
            <a:bodyPr wrap="none" lIns="91425" tIns="45713" rIns="91425" bIns="45713">
              <a:spAutoFit/>
            </a:bodyPr>
            <a:p>
              <a:r>
                <a:rPr lang="zh-CN" altLang="en-US" sz="1500" b="1" dirty="0">
                  <a:solidFill>
                    <a:srgbClr val="000000"/>
                  </a:solidFill>
                  <a:latin typeface="微软雅黑" panose="020B0503020204020204" charset="-122"/>
                  <a:ea typeface="微软雅黑" panose="020B0503020204020204" charset="-122"/>
                  <a:sym typeface="微软雅黑" panose="020B0503020204020204" charset="-122"/>
                </a:rPr>
                <a:t>强大的数字科技化能力</a:t>
              </a:r>
              <a:endParaRPr lang="zh-CN" altLang="en-US" sz="1500" b="1" dirty="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43" name="文本框 7"/>
            <p:cNvSpPr/>
            <p:nvPr/>
          </p:nvSpPr>
          <p:spPr>
            <a:xfrm>
              <a:off x="5549900" y="1943799"/>
              <a:ext cx="3379787" cy="714375"/>
            </a:xfrm>
            <a:prstGeom prst="rect">
              <a:avLst/>
            </a:prstGeom>
            <a:noFill/>
            <a:ln w="9525">
              <a:noFill/>
            </a:ln>
          </p:spPr>
          <p:txBody>
            <a:bodyPr wrap="square" anchor="t" anchorCtr="0">
              <a:spAutoFit/>
            </a:bodyPr>
            <a:p>
              <a:pPr marL="285750" indent="-285750">
                <a:lnSpc>
                  <a:spcPct val="150000"/>
                </a:lnSpc>
                <a:buFont typeface="Wingdings" panose="05000000000000000000" pitchFamily="2" charset="2"/>
                <a:buChar char=""/>
              </a:pP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强大的自研科技团队</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a:p>
              <a:pPr marL="285750" indent="-285750">
                <a:lnSpc>
                  <a:spcPct val="150000"/>
                </a:lnSpc>
                <a:buFont typeface="Wingdings" panose="05000000000000000000" pitchFamily="2" charset="2"/>
                <a:buChar char=""/>
              </a:pP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股东中科软的科技支持</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a:p>
              <a:pPr marL="285750" indent="-285750">
                <a:lnSpc>
                  <a:spcPct val="150000"/>
                </a:lnSpc>
                <a:buFont typeface="Wingdings" panose="05000000000000000000" pitchFamily="2" charset="2"/>
                <a:buChar char=""/>
              </a:pP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全程数字化运营平台</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p:txBody>
        </p:sp>
      </p:grpSp>
      <p:grpSp>
        <p:nvGrpSpPr>
          <p:cNvPr id="44" name="Group 2"/>
          <p:cNvGrpSpPr/>
          <p:nvPr/>
        </p:nvGrpSpPr>
        <p:grpSpPr>
          <a:xfrm>
            <a:off x="5408702" y="2702455"/>
            <a:ext cx="3314699" cy="976313"/>
            <a:chOff x="5513388" y="2753075"/>
            <a:chExt cx="3314699" cy="976313"/>
          </a:xfrm>
        </p:grpSpPr>
        <p:sp>
          <p:nvSpPr>
            <p:cNvPr id="45" name="矩形 104"/>
            <p:cNvSpPr/>
            <p:nvPr/>
          </p:nvSpPr>
          <p:spPr>
            <a:xfrm>
              <a:off x="5513388" y="2753075"/>
              <a:ext cx="1531158" cy="323151"/>
            </a:xfrm>
            <a:prstGeom prst="rect">
              <a:avLst/>
            </a:prstGeom>
            <a:noFill/>
            <a:ln w="9525">
              <a:noFill/>
            </a:ln>
          </p:spPr>
          <p:txBody>
            <a:bodyPr wrap="none" lIns="91425" tIns="45713" rIns="91425" bIns="45713">
              <a:spAutoFit/>
            </a:bodyPr>
            <a:p>
              <a:r>
                <a:rPr lang="zh-CN" altLang="en-US" sz="1500" b="1" dirty="0">
                  <a:solidFill>
                    <a:srgbClr val="000000"/>
                  </a:solidFill>
                  <a:latin typeface="微软雅黑" panose="020B0503020204020204" charset="-122"/>
                  <a:ea typeface="微软雅黑" panose="020B0503020204020204" charset="-122"/>
                  <a:sym typeface="微软雅黑" panose="020B0503020204020204" charset="-122"/>
                </a:rPr>
                <a:t>专业的服务能力</a:t>
              </a:r>
              <a:endParaRPr lang="zh-CN" altLang="en-US" sz="1500" b="1" dirty="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46" name="文本框 8"/>
            <p:cNvSpPr/>
            <p:nvPr/>
          </p:nvSpPr>
          <p:spPr>
            <a:xfrm>
              <a:off x="5549900" y="3015013"/>
              <a:ext cx="3278187" cy="714375"/>
            </a:xfrm>
            <a:prstGeom prst="rect">
              <a:avLst/>
            </a:prstGeom>
            <a:noFill/>
            <a:ln w="9525">
              <a:noFill/>
            </a:ln>
          </p:spPr>
          <p:txBody>
            <a:bodyPr wrap="square" anchor="t" anchorCtr="0">
              <a:spAutoFit/>
            </a:bodyPr>
            <a:p>
              <a:pPr marL="285750" indent="-285750">
                <a:lnSpc>
                  <a:spcPct val="150000"/>
                </a:lnSpc>
                <a:buFont typeface="Wingdings" panose="05000000000000000000" pitchFamily="2" charset="2"/>
                <a:buChar char=""/>
              </a:pP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具有一批高素质、专业化的团队</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a:p>
              <a:pPr marL="285750" indent="-285750">
                <a:lnSpc>
                  <a:spcPct val="150000"/>
                </a:lnSpc>
                <a:buFont typeface="Wingdings" panose="05000000000000000000" pitchFamily="2" charset="2"/>
                <a:buChar char=""/>
              </a:pP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总部三大运营中心提供全流程支持和服务</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a:p>
              <a:pPr marL="285750" indent="-285750">
                <a:lnSpc>
                  <a:spcPct val="150000"/>
                </a:lnSpc>
                <a:buFont typeface="Wingdings" panose="05000000000000000000" pitchFamily="2" charset="2"/>
                <a:buChar char=""/>
              </a:pP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公司坚持以专业的服务文化引领</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p:txBody>
        </p:sp>
      </p:grpSp>
      <p:sp>
        <p:nvSpPr>
          <p:cNvPr id="25634" name="椭圆 4"/>
          <p:cNvSpPr/>
          <p:nvPr/>
        </p:nvSpPr>
        <p:spPr>
          <a:xfrm>
            <a:off x="355600" y="1236663"/>
            <a:ext cx="2667000" cy="2668587"/>
          </a:xfrm>
          <a:prstGeom prst="ellipse">
            <a:avLst/>
          </a:prstGeom>
          <a:solidFill>
            <a:srgbClr val="FFFFFF"/>
          </a:solidFill>
          <a:ln w="38100" cap="flat" cmpd="sng">
            <a:solidFill>
              <a:schemeClr val="accent1"/>
            </a:solidFill>
            <a:prstDash val="solid"/>
            <a:headEnd type="none" w="med" len="med"/>
            <a:tailEnd type="none" w="med" len="med"/>
          </a:ln>
        </p:spPr>
        <p:txBody>
          <a:bodyPr anchor="ctr" anchorCtr="0"/>
          <a:p>
            <a:pPr algn="ctr">
              <a:buFont typeface="Arial" panose="020B0604020202020204" pitchFamily="34" charset="0"/>
              <a:buNone/>
            </a:pPr>
            <a:endParaRPr sz="240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48" name="椭圆 10"/>
          <p:cNvSpPr/>
          <p:nvPr/>
        </p:nvSpPr>
        <p:spPr>
          <a:xfrm>
            <a:off x="463550" y="1344613"/>
            <a:ext cx="2451100" cy="2452687"/>
          </a:xfrm>
          <a:prstGeom prst="ellipse">
            <a:avLst/>
          </a:prstGeom>
          <a:blipFill rotWithShape="1">
            <a:blip r:embed="rId3"/>
            <a:stretch>
              <a:fillRect/>
            </a:stretch>
          </a:blipFill>
          <a:ln w="12700" cap="flat" cmpd="sng">
            <a:solidFill>
              <a:srgbClr val="95997C"/>
            </a:solidFill>
            <a:prstDash val="solid"/>
            <a:headEnd type="none" w="med" len="med"/>
            <a:tailEnd type="none" w="med" len="med"/>
          </a:ln>
        </p:spPr>
        <p:txBody>
          <a:bodyPr anchor="ctr" anchorCtr="0"/>
          <a:p>
            <a:pPr algn="ctr">
              <a:buFont typeface="Arial" panose="020B0604020202020204" pitchFamily="34" charset="0"/>
              <a:buNone/>
            </a:pPr>
            <a:endParaRPr sz="240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47" name="文本框 10"/>
          <p:cNvSpPr/>
          <p:nvPr/>
        </p:nvSpPr>
        <p:spPr>
          <a:xfrm>
            <a:off x="4836160" y="4148455"/>
            <a:ext cx="2795905" cy="922020"/>
          </a:xfrm>
          <a:prstGeom prst="rect">
            <a:avLst/>
          </a:prstGeom>
          <a:noFill/>
          <a:ln w="9525">
            <a:noFill/>
          </a:ln>
        </p:spPr>
        <p:txBody>
          <a:bodyPr wrap="square" anchor="t" anchorCtr="0">
            <a:spAutoFit/>
          </a:bodyPr>
          <a:p>
            <a:pPr marL="285750" indent="-285750">
              <a:lnSpc>
                <a:spcPct val="150000"/>
              </a:lnSpc>
              <a:buFont typeface="Wingdings" panose="05000000000000000000" pitchFamily="2" charset="2"/>
              <a:buChar char=""/>
            </a:pPr>
            <a:r>
              <a:rPr lang="en-US" altLang="zh-CN" sz="900" dirty="0">
                <a:solidFill>
                  <a:srgbClr val="000000"/>
                </a:solidFill>
                <a:latin typeface="微软雅黑" panose="020B0503020204020204" charset="-122"/>
                <a:ea typeface="微软雅黑" panose="020B0503020204020204" charset="-122"/>
                <a:sym typeface="微软雅黑" panose="020B0503020204020204" charset="-122"/>
              </a:rPr>
              <a:t>39</a:t>
            </a: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家分支网点，服务遍及全国主要城市</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a:p>
            <a:pPr marL="285750" indent="-285750">
              <a:lnSpc>
                <a:spcPct val="150000"/>
              </a:lnSpc>
              <a:buFont typeface="Wingdings" panose="05000000000000000000" pitchFamily="2" charset="2"/>
              <a:buChar char=""/>
            </a:pP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通过线上线下融合，实现多元营销模式</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a:p>
            <a:pPr marL="285750" indent="-285750">
              <a:lnSpc>
                <a:spcPct val="150000"/>
              </a:lnSpc>
              <a:buFont typeface="Wingdings" panose="05000000000000000000" pitchFamily="2" charset="2"/>
              <a:buChar char=""/>
            </a:pPr>
            <a:r>
              <a:rPr lang="zh-CN" altLang="en-US" sz="900" dirty="0">
                <a:solidFill>
                  <a:srgbClr val="000000"/>
                </a:solidFill>
                <a:latin typeface="微软雅黑" panose="020B0503020204020204" charset="-122"/>
                <a:ea typeface="微软雅黑" panose="020B0503020204020204" charset="-122"/>
                <a:sym typeface="微软雅黑" panose="020B0503020204020204" charset="-122"/>
              </a:rPr>
              <a:t>城市合伙人的激励制度，提供优质的创业平台</a:t>
            </a: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a:p>
            <a:pPr marL="285750" indent="-285750">
              <a:lnSpc>
                <a:spcPct val="150000"/>
              </a:lnSpc>
              <a:buFont typeface="Wingdings" panose="05000000000000000000" pitchFamily="2" charset="2"/>
              <a:buChar char=""/>
            </a:pPr>
            <a:endParaRPr lang="zh-CN" altLang="en-US" sz="900" dirty="0">
              <a:solidFill>
                <a:srgbClr val="000000"/>
              </a:solidFill>
              <a:latin typeface="微软雅黑" panose="020B0503020204020204" charset="-122"/>
              <a:ea typeface="微软雅黑" panose="020B0503020204020204" charset="-122"/>
              <a:sym typeface="微软雅黑" panose="020B050302020402020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1800" dirty="0">
                <a:solidFill>
                  <a:srgbClr val="C00000"/>
                </a:solidFill>
                <a:latin typeface="微软雅黑" panose="020B0503020204020204" charset="-122"/>
                <a:ea typeface="微软雅黑" panose="020B0503020204020204" charset="-122"/>
              </a:rPr>
              <a:t>重点项目</a:t>
            </a:r>
            <a:endParaRPr lang="zh-CN" altLang="en-US" sz="1800" dirty="0">
              <a:solidFill>
                <a:srgbClr val="C00000"/>
              </a:solidFill>
              <a:latin typeface="微软雅黑" panose="020B0503020204020204" charset="-122"/>
              <a:ea typeface="微软雅黑" panose="020B0503020204020204" charset="-122"/>
            </a:endParaRPr>
          </a:p>
        </p:txBody>
      </p:sp>
      <p:sp>
        <p:nvSpPr>
          <p:cNvPr id="17412" name="文本框 9"/>
          <p:cNvSpPr/>
          <p:nvPr/>
        </p:nvSpPr>
        <p:spPr>
          <a:xfrm>
            <a:off x="280194" y="2153445"/>
            <a:ext cx="1600200" cy="2011362"/>
          </a:xfrm>
          <a:prstGeom prst="rect">
            <a:avLst/>
          </a:prstGeom>
          <a:noFill/>
          <a:ln w="9525">
            <a:noFill/>
          </a:ln>
        </p:spPr>
        <p:txBody>
          <a:bodyPr wrap="square" lIns="0" tIns="0" rIns="0" bIns="0">
            <a:noAutofit/>
          </a:bodyPr>
          <a:p>
            <a:pPr algn="ctr">
              <a:lnSpc>
                <a:spcPct val="200000"/>
              </a:lnSpc>
            </a:pPr>
            <a:r>
              <a:rPr lang="zh-CN" altLang="en-US" sz="1400" b="1" dirty="0">
                <a:solidFill>
                  <a:srgbClr val="000000"/>
                </a:solidFill>
                <a:latin typeface="微软雅黑" panose="020B0503020204020204" charset="-122"/>
                <a:ea typeface="微软雅黑" panose="020B0503020204020204" charset="-122"/>
                <a:sym typeface="微软雅黑" panose="020B0503020204020204" charset="-122"/>
              </a:rPr>
              <a:t>市政工程</a:t>
            </a:r>
            <a:endParaRPr lang="zh-CN" altLang="en-US" sz="1400" b="1"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三峡水利工程</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石柱县回龙场水库工程</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正定县城区再生水利用工程</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元阳县增益寨水</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库至烂衙门引水工程</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130000"/>
              </a:lnSpc>
            </a:pP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p:txBody>
      </p:sp>
      <p:pic>
        <p:nvPicPr>
          <p:cNvPr id="17411" name="图片 5"/>
          <p:cNvPicPr/>
          <p:nvPr/>
        </p:nvPicPr>
        <p:blipFill>
          <a:blip r:embed="rId1"/>
          <a:stretch>
            <a:fillRect/>
          </a:stretch>
        </p:blipFill>
        <p:spPr>
          <a:xfrm>
            <a:off x="280194" y="978693"/>
            <a:ext cx="1600200" cy="1073150"/>
          </a:xfrm>
          <a:prstGeom prst="rect">
            <a:avLst/>
          </a:prstGeom>
          <a:noFill/>
          <a:ln w="19050" cap="flat" cmpd="sng">
            <a:solidFill>
              <a:schemeClr val="bg1">
                <a:lumMod val="85000"/>
              </a:schemeClr>
            </a:solidFill>
            <a:prstDash val="solid"/>
            <a:miter/>
            <a:headEnd type="none" w="med" len="med"/>
            <a:tailEnd type="none" w="med" len="med"/>
          </a:ln>
        </p:spPr>
      </p:pic>
      <p:pic>
        <p:nvPicPr>
          <p:cNvPr id="17413" name="图片 10"/>
          <p:cNvPicPr/>
          <p:nvPr/>
        </p:nvPicPr>
        <p:blipFill>
          <a:blip r:embed="rId2"/>
          <a:stretch>
            <a:fillRect/>
          </a:stretch>
        </p:blipFill>
        <p:spPr>
          <a:xfrm>
            <a:off x="2026047" y="978693"/>
            <a:ext cx="1600200" cy="1073150"/>
          </a:xfrm>
          <a:prstGeom prst="rect">
            <a:avLst/>
          </a:prstGeom>
          <a:noFill/>
          <a:ln w="19050" cap="flat" cmpd="sng">
            <a:solidFill>
              <a:schemeClr val="bg1">
                <a:lumMod val="85000"/>
              </a:schemeClr>
            </a:solidFill>
            <a:prstDash val="solid"/>
            <a:miter/>
            <a:headEnd type="none" w="med" len="med"/>
            <a:tailEnd type="none" w="med" len="med"/>
          </a:ln>
        </p:spPr>
      </p:pic>
      <p:pic>
        <p:nvPicPr>
          <p:cNvPr id="17414" name="图片 11"/>
          <p:cNvPicPr/>
          <p:nvPr/>
        </p:nvPicPr>
        <p:blipFill>
          <a:blip r:embed="rId3"/>
          <a:stretch>
            <a:fillRect/>
          </a:stretch>
        </p:blipFill>
        <p:spPr>
          <a:xfrm>
            <a:off x="3771900" y="978693"/>
            <a:ext cx="1600200" cy="1073150"/>
          </a:xfrm>
          <a:prstGeom prst="rect">
            <a:avLst/>
          </a:prstGeom>
          <a:noFill/>
          <a:ln w="19050" cap="flat" cmpd="sng">
            <a:solidFill>
              <a:schemeClr val="bg1">
                <a:lumMod val="85000"/>
              </a:schemeClr>
            </a:solidFill>
            <a:prstDash val="solid"/>
            <a:miter/>
            <a:headEnd type="none" w="med" len="med"/>
            <a:tailEnd type="none" w="med" len="med"/>
          </a:ln>
        </p:spPr>
      </p:pic>
      <p:pic>
        <p:nvPicPr>
          <p:cNvPr id="17416" name="图片 13"/>
          <p:cNvPicPr/>
          <p:nvPr/>
        </p:nvPicPr>
        <p:blipFill>
          <a:blip r:embed="rId4"/>
          <a:stretch>
            <a:fillRect/>
          </a:stretch>
        </p:blipFill>
        <p:spPr>
          <a:xfrm>
            <a:off x="7263607" y="978693"/>
            <a:ext cx="1600200" cy="1073150"/>
          </a:xfrm>
          <a:prstGeom prst="rect">
            <a:avLst/>
          </a:prstGeom>
          <a:noFill/>
          <a:ln w="19050" cap="flat" cmpd="sng">
            <a:solidFill>
              <a:schemeClr val="bg1">
                <a:lumMod val="85000"/>
              </a:schemeClr>
            </a:solidFill>
            <a:prstDash val="solid"/>
            <a:miter/>
            <a:headEnd type="none" w="med" len="med"/>
            <a:tailEnd type="none" w="med" len="med"/>
          </a:ln>
        </p:spPr>
      </p:pic>
      <p:sp>
        <p:nvSpPr>
          <p:cNvPr id="17417" name="文本框 15"/>
          <p:cNvSpPr/>
          <p:nvPr/>
        </p:nvSpPr>
        <p:spPr>
          <a:xfrm>
            <a:off x="2026047" y="2153445"/>
            <a:ext cx="1600200" cy="2011362"/>
          </a:xfrm>
          <a:prstGeom prst="rect">
            <a:avLst/>
          </a:prstGeom>
          <a:noFill/>
          <a:ln w="9525">
            <a:noFill/>
          </a:ln>
        </p:spPr>
        <p:txBody>
          <a:bodyPr wrap="square" lIns="0" tIns="0" rIns="0" bIns="0">
            <a:noAutofit/>
          </a:bodyPr>
          <a:p>
            <a:pPr algn="ctr">
              <a:lnSpc>
                <a:spcPct val="200000"/>
              </a:lnSpc>
            </a:pPr>
            <a:r>
              <a:rPr lang="zh-CN" altLang="en-US" sz="1400" b="1" dirty="0">
                <a:solidFill>
                  <a:srgbClr val="000000"/>
                </a:solidFill>
                <a:latin typeface="微软雅黑" panose="020B0503020204020204" charset="-122"/>
                <a:ea typeface="微软雅黑" panose="020B0503020204020204" charset="-122"/>
                <a:sym typeface="微软雅黑" panose="020B0503020204020204" charset="-122"/>
              </a:rPr>
              <a:t>船舶物流</a:t>
            </a:r>
            <a:endParaRPr lang="zh-CN" altLang="en-US" sz="1400" b="1"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中国渔业互保协会</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天津国际海运</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中集世联达</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湖北港口集团</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130000"/>
              </a:lnSpc>
            </a:pP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17418" name="文本框 16"/>
          <p:cNvSpPr/>
          <p:nvPr/>
        </p:nvSpPr>
        <p:spPr>
          <a:xfrm>
            <a:off x="3771900" y="2153445"/>
            <a:ext cx="1600200" cy="2011362"/>
          </a:xfrm>
          <a:prstGeom prst="rect">
            <a:avLst/>
          </a:prstGeom>
          <a:noFill/>
          <a:ln w="9525">
            <a:noFill/>
          </a:ln>
        </p:spPr>
        <p:txBody>
          <a:bodyPr wrap="square" lIns="0" tIns="0" rIns="0" bIns="0">
            <a:noAutofit/>
          </a:bodyPr>
          <a:p>
            <a:pPr algn="ctr">
              <a:lnSpc>
                <a:spcPct val="200000"/>
              </a:lnSpc>
            </a:pPr>
            <a:r>
              <a:rPr lang="zh-CN" altLang="en-US" sz="1400" b="1" dirty="0">
                <a:solidFill>
                  <a:srgbClr val="000000"/>
                </a:solidFill>
                <a:latin typeface="微软雅黑" panose="020B0503020204020204" charset="-122"/>
                <a:ea typeface="微软雅黑" panose="020B0503020204020204" charset="-122"/>
                <a:sym typeface="微软雅黑" panose="020B0503020204020204" charset="-122"/>
              </a:rPr>
              <a:t>教育</a:t>
            </a:r>
            <a:r>
              <a:rPr lang="zh-CN" altLang="en-US" sz="1400" b="1" dirty="0">
                <a:solidFill>
                  <a:srgbClr val="000000"/>
                </a:solidFill>
                <a:latin typeface="微软雅黑" panose="020B0503020204020204" charset="-122"/>
                <a:ea typeface="微软雅黑" panose="020B0503020204020204" charset="-122"/>
                <a:sym typeface="微软雅黑" panose="020B0503020204020204" charset="-122"/>
              </a:rPr>
              <a:t>培训</a:t>
            </a:r>
            <a:endParaRPr lang="zh-CN" altLang="en-US" sz="1400" b="1"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恩施市校方责任、学平险</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昆明市校方责任、学平险</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长沙市校方责任、学平险</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保定市校方责任、学平险</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130000"/>
              </a:lnSpc>
            </a:pP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p:txBody>
      </p:sp>
      <p:sp>
        <p:nvSpPr>
          <p:cNvPr id="17420" name="文本框 18"/>
          <p:cNvSpPr/>
          <p:nvPr/>
        </p:nvSpPr>
        <p:spPr>
          <a:xfrm>
            <a:off x="7173595" y="2153285"/>
            <a:ext cx="1794510" cy="2148840"/>
          </a:xfrm>
          <a:prstGeom prst="rect">
            <a:avLst/>
          </a:prstGeom>
          <a:noFill/>
          <a:ln w="9525">
            <a:noFill/>
          </a:ln>
        </p:spPr>
        <p:txBody>
          <a:bodyPr wrap="square" lIns="0" tIns="0" rIns="0" bIns="0">
            <a:noAutofit/>
          </a:bodyPr>
          <a:p>
            <a:pPr algn="ctr">
              <a:lnSpc>
                <a:spcPct val="200000"/>
              </a:lnSpc>
            </a:pPr>
            <a:r>
              <a:rPr lang="zh-CN" altLang="en-US" sz="1400" b="1" dirty="0">
                <a:solidFill>
                  <a:srgbClr val="000000"/>
                </a:solidFill>
                <a:latin typeface="微软雅黑" panose="020B0503020204020204" charset="-122"/>
                <a:ea typeface="微软雅黑" panose="020B0503020204020204" charset="-122"/>
                <a:sym typeface="微软雅黑" panose="020B0503020204020204" charset="-122"/>
              </a:rPr>
              <a:t>光伏发电</a:t>
            </a:r>
            <a:endParaRPr lang="zh-CN" altLang="en-US" sz="1400" b="1"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chemeClr val="tx1"/>
                </a:solidFill>
                <a:latin typeface="微软雅黑" panose="020B0503020204020204" charset="-122"/>
                <a:ea typeface="微软雅黑" panose="020B0503020204020204" charset="-122"/>
                <a:sym typeface="微软雅黑" panose="020B0503020204020204" charset="-122"/>
              </a:rPr>
              <a:t>浙江艾迪森智慧能源有限公司</a:t>
            </a:r>
            <a:endParaRPr lang="zh-CN" altLang="en-US" sz="1000" dirty="0">
              <a:solidFill>
                <a:schemeClr val="tx1"/>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chemeClr val="tx1"/>
                </a:solidFill>
                <a:latin typeface="微软雅黑" panose="020B0503020204020204" charset="-122"/>
                <a:ea typeface="微软雅黑" panose="020B0503020204020204" charset="-122"/>
                <a:sym typeface="微软雅黑" panose="020B0503020204020204" charset="-122"/>
              </a:rPr>
              <a:t>无锡马丁格林光伏科技有限公司</a:t>
            </a:r>
            <a:endParaRPr lang="zh-CN" altLang="en-US" sz="1000" dirty="0">
              <a:solidFill>
                <a:schemeClr val="tx1"/>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chemeClr val="tx1"/>
                </a:solidFill>
                <a:latin typeface="微软雅黑" panose="020B0503020204020204" charset="-122"/>
                <a:ea typeface="微软雅黑" panose="020B0503020204020204" charset="-122"/>
                <a:sym typeface="微软雅黑" panose="020B0503020204020204" charset="-122"/>
              </a:rPr>
              <a:t>宁波予宸新能源有限公司</a:t>
            </a:r>
            <a:endParaRPr lang="zh-CN" altLang="en-US" sz="1000" dirty="0">
              <a:solidFill>
                <a:schemeClr val="tx1"/>
              </a:solidFill>
              <a:latin typeface="微软雅黑" panose="020B0503020204020204" charset="-122"/>
              <a:ea typeface="微软雅黑" panose="020B0503020204020204" charset="-122"/>
              <a:sym typeface="微软雅黑" panose="020B0503020204020204" charset="-122"/>
            </a:endParaRPr>
          </a:p>
          <a:p>
            <a:pPr algn="ctr">
              <a:lnSpc>
                <a:spcPct val="200000"/>
              </a:lnSpc>
            </a:pPr>
            <a:r>
              <a:rPr lang="zh-CN" altLang="en-US" sz="1000" dirty="0">
                <a:solidFill>
                  <a:schemeClr val="tx1"/>
                </a:solidFill>
                <a:latin typeface="微软雅黑" panose="020B0503020204020204" charset="-122"/>
                <a:ea typeface="微软雅黑" panose="020B0503020204020204" charset="-122"/>
                <a:sym typeface="微软雅黑" panose="020B0503020204020204" charset="-122"/>
              </a:rPr>
              <a:t>浙江天澄新能源开发有限公司</a:t>
            </a:r>
            <a:endParaRPr lang="zh-CN" altLang="en-US" sz="1000" dirty="0">
              <a:solidFill>
                <a:schemeClr val="tx1"/>
              </a:solidFill>
              <a:latin typeface="微软雅黑" panose="020B0503020204020204" charset="-122"/>
              <a:ea typeface="微软雅黑" panose="020B0503020204020204" charset="-122"/>
              <a:sym typeface="微软雅黑" panose="020B0503020204020204" charset="-122"/>
            </a:endParaRPr>
          </a:p>
        </p:txBody>
      </p:sp>
      <p:pic>
        <p:nvPicPr>
          <p:cNvPr id="18437" name="图片 2"/>
          <p:cNvPicPr/>
          <p:nvPr/>
        </p:nvPicPr>
        <p:blipFill>
          <a:blip r:embed="rId5"/>
          <a:stretch>
            <a:fillRect/>
          </a:stretch>
        </p:blipFill>
        <p:spPr>
          <a:xfrm>
            <a:off x="5517515" y="978535"/>
            <a:ext cx="1588770" cy="1101090"/>
          </a:xfrm>
          <a:prstGeom prst="rect">
            <a:avLst/>
          </a:prstGeom>
          <a:noFill/>
          <a:ln w="19050" cap="flat" cmpd="sng">
            <a:solidFill>
              <a:schemeClr val="bg1">
                <a:lumMod val="85000"/>
              </a:schemeClr>
            </a:solidFill>
            <a:prstDash val="solid"/>
            <a:miter/>
            <a:headEnd type="none" w="med" len="med"/>
            <a:tailEnd type="none" w="med" len="med"/>
          </a:ln>
        </p:spPr>
      </p:pic>
      <p:sp>
        <p:nvSpPr>
          <p:cNvPr id="18439" name="文本框 7"/>
          <p:cNvSpPr/>
          <p:nvPr/>
        </p:nvSpPr>
        <p:spPr>
          <a:xfrm>
            <a:off x="5517515" y="2243455"/>
            <a:ext cx="1517650" cy="1921510"/>
          </a:xfrm>
          <a:prstGeom prst="rect">
            <a:avLst/>
          </a:prstGeom>
          <a:noFill/>
          <a:ln w="9525">
            <a:noFill/>
          </a:ln>
        </p:spPr>
        <p:txBody>
          <a:bodyPr wrap="square" lIns="15240" tIns="0" rIns="15240" bIns="0">
            <a:noAutofit/>
          </a:bodyPr>
          <a:p>
            <a:pPr algn="ctr">
              <a:lnSpc>
                <a:spcPct val="160000"/>
              </a:lnSpc>
            </a:pPr>
            <a:r>
              <a:rPr lang="zh-CN" altLang="en-US" sz="1400" b="1" dirty="0">
                <a:solidFill>
                  <a:srgbClr val="000000"/>
                </a:solidFill>
                <a:latin typeface="微软雅黑" panose="020B0503020204020204" charset="-122"/>
                <a:ea typeface="微软雅黑" panose="020B0503020204020204" charset="-122"/>
                <a:sym typeface="微软雅黑" panose="020B0503020204020204" charset="-122"/>
              </a:rPr>
              <a:t>国内机场</a:t>
            </a:r>
            <a:endParaRPr lang="zh-CN" altLang="en-US" sz="1400" b="1"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16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广州白云机场</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16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武汉天河机场</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16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天津滨海机场</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16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成都天府机场</a:t>
            </a:r>
            <a:endParaRPr lang="zh-CN" altLang="en-US" sz="100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160000"/>
              </a:lnSpc>
            </a:pPr>
            <a:r>
              <a:rPr lang="zh-CN" altLang="en-US" sz="1000" dirty="0">
                <a:solidFill>
                  <a:srgbClr val="000000"/>
                </a:solidFill>
                <a:latin typeface="微软雅黑" panose="020B0503020204020204" charset="-122"/>
                <a:ea typeface="微软雅黑" panose="020B0503020204020204" charset="-122"/>
                <a:sym typeface="微软雅黑" panose="020B0503020204020204" charset="-122"/>
              </a:rPr>
              <a:t>内蒙古机场集团</a:t>
            </a:r>
            <a:endParaRPr lang="zh-CN" altLang="en-US" sz="1050" dirty="0">
              <a:solidFill>
                <a:srgbClr val="000000"/>
              </a:solidFill>
              <a:latin typeface="微软雅黑" panose="020B0503020204020204" charset="-122"/>
              <a:ea typeface="微软雅黑" panose="020B0503020204020204" charset="-122"/>
              <a:sym typeface="微软雅黑" panose="020B0503020204020204" charset="-122"/>
            </a:endParaRPr>
          </a:p>
          <a:p>
            <a:pPr algn="ctr">
              <a:lnSpc>
                <a:spcPct val="130000"/>
              </a:lnSpc>
            </a:pPr>
            <a:endParaRPr lang="zh-CN" altLang="en-US" b="1" dirty="0">
              <a:solidFill>
                <a:srgbClr val="000000"/>
              </a:solidFill>
              <a:latin typeface="微软雅黑" panose="020B0503020204020204" charset="-122"/>
              <a:ea typeface="微软雅黑" panose="020B0503020204020204" charset="-122"/>
              <a:sym typeface="微软雅黑" panose="020B0503020204020204" charset="-122"/>
            </a:endParaRPr>
          </a:p>
        </p:txBody>
      </p:sp>
      <p:pic>
        <p:nvPicPr>
          <p:cNvPr id="5" name="图片 4" descr="微信截图_20240604155649"/>
          <p:cNvPicPr>
            <a:picLocks noChangeAspect="1"/>
          </p:cNvPicPr>
          <p:nvPr>
            <p:custDataLst>
              <p:tags r:id="rId6"/>
            </p:custDataLst>
          </p:nvPr>
        </p:nvPicPr>
        <p:blipFill>
          <a:blip r:embed="rId7"/>
          <a:stretch>
            <a:fillRect/>
          </a:stretch>
        </p:blipFill>
        <p:spPr>
          <a:xfrm>
            <a:off x="7376795" y="4498340"/>
            <a:ext cx="1764030" cy="64516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2" name="Shape1"/>
          <p:cNvSpPr/>
          <p:nvPr/>
        </p:nvSpPr>
        <p:spPr>
          <a:xfrm rot="17882113" flipH="1">
            <a:off x="-1914221" y="661306"/>
            <a:ext cx="5348278" cy="3704140"/>
          </a:xfrm>
          <a:custGeom>
            <a:avLst/>
            <a:gdLst>
              <a:gd name="connsiteX0" fmla="*/ 1083810 w 7131037"/>
              <a:gd name="connsiteY0" fmla="*/ 0 h 4938853"/>
              <a:gd name="connsiteX1" fmla="*/ 0 w 7131037"/>
              <a:gd name="connsiteY1" fmla="*/ 2035332 h 4938853"/>
              <a:gd name="connsiteX2" fmla="*/ 100465 w 7131037"/>
              <a:gd name="connsiteY2" fmla="*/ 2136288 h 4938853"/>
              <a:gd name="connsiteX3" fmla="*/ 654764 w 7131037"/>
              <a:gd name="connsiteY3" fmla="*/ 2506857 h 4938853"/>
              <a:gd name="connsiteX4" fmla="*/ 3360401 w 7131037"/>
              <a:gd name="connsiteY4" fmla="*/ 2563592 h 4938853"/>
              <a:gd name="connsiteX5" fmla="*/ 5283416 w 7131037"/>
              <a:gd name="connsiteY5" fmla="*/ 4738430 h 4938853"/>
              <a:gd name="connsiteX6" fmla="*/ 6032094 w 7131037"/>
              <a:gd name="connsiteY6" fmla="*/ 4913222 h 4938853"/>
              <a:gd name="connsiteX7" fmla="*/ 6215824 w 7131037"/>
              <a:gd name="connsiteY7" fmla="*/ 4938853 h 4938853"/>
              <a:gd name="connsiteX8" fmla="*/ 7131037 w 7131037"/>
              <a:gd name="connsiteY8" fmla="*/ 3220137 h 4938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1037" h="4938853">
                <a:moveTo>
                  <a:pt x="1083810" y="0"/>
                </a:moveTo>
                <a:lnTo>
                  <a:pt x="0" y="2035332"/>
                </a:lnTo>
                <a:lnTo>
                  <a:pt x="100465" y="2136288"/>
                </a:lnTo>
                <a:cubicBezTo>
                  <a:pt x="261170" y="2287443"/>
                  <a:pt x="444574" y="2417973"/>
                  <a:pt x="654764" y="2506857"/>
                </a:cubicBezTo>
                <a:cubicBezTo>
                  <a:pt x="1495524" y="2862396"/>
                  <a:pt x="2434671" y="2117278"/>
                  <a:pt x="3360401" y="2563592"/>
                </a:cubicBezTo>
                <a:cubicBezTo>
                  <a:pt x="4286132" y="3009907"/>
                  <a:pt x="4120663" y="4356415"/>
                  <a:pt x="5283416" y="4738430"/>
                </a:cubicBezTo>
                <a:cubicBezTo>
                  <a:pt x="5501433" y="4810058"/>
                  <a:pt x="5757183" y="4869053"/>
                  <a:pt x="6032094" y="4913222"/>
                </a:cubicBezTo>
                <a:lnTo>
                  <a:pt x="6215824" y="4938853"/>
                </a:lnTo>
                <a:lnTo>
                  <a:pt x="7131037" y="322013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23" name="Shape2"/>
          <p:cNvSpPr/>
          <p:nvPr/>
        </p:nvSpPr>
        <p:spPr>
          <a:xfrm>
            <a:off x="2211422" y="1591535"/>
            <a:ext cx="1960433" cy="1960431"/>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a:latin typeface="汉仪旗黑X1-55W" panose="00020600040101010101" pitchFamily="18" charset="-122"/>
              <a:ea typeface="汉仪旗黑X1-55W" panose="00020600040101010101" pitchFamily="18" charset="-122"/>
              <a:cs typeface="汉仪润圆-65简" panose="00020600040101010101" pitchFamily="18" charset="-122"/>
              <a:sym typeface="汉仪旗黑X1-55W" panose="00020600040101010101" pitchFamily="18" charset="-122"/>
            </a:endParaRPr>
          </a:p>
        </p:txBody>
      </p:sp>
      <p:sp>
        <p:nvSpPr>
          <p:cNvPr id="1048624" name="Shape3"/>
          <p:cNvSpPr/>
          <p:nvPr/>
        </p:nvSpPr>
        <p:spPr>
          <a:xfrm>
            <a:off x="2357732" y="1759300"/>
            <a:ext cx="1667813" cy="1667813"/>
          </a:xfrm>
          <a:prstGeom prst="ellipse">
            <a:avLst/>
          </a:prstGeom>
          <a:solidFill>
            <a:schemeClr val="accent1"/>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900">
              <a:latin typeface="汉仪旗黑X1-55W" panose="00020600040101010101" pitchFamily="18" charset="-122"/>
              <a:ea typeface="汉仪旗黑X1-55W" panose="00020600040101010101" pitchFamily="18" charset="-122"/>
              <a:cs typeface="+mn-ea"/>
              <a:sym typeface="汉仪旗黑X1-55W" panose="00020600040101010101" pitchFamily="18" charset="-122"/>
            </a:endParaRPr>
          </a:p>
        </p:txBody>
      </p:sp>
      <p:sp>
        <p:nvSpPr>
          <p:cNvPr id="1048625" name="Shape4"/>
          <p:cNvSpPr txBox="1"/>
          <p:nvPr/>
        </p:nvSpPr>
        <p:spPr>
          <a:xfrm>
            <a:off x="2715010" y="2190875"/>
            <a:ext cx="953255" cy="783590"/>
          </a:xfrm>
          <a:prstGeom prst="rect">
            <a:avLst/>
          </a:prstGeom>
          <a:noFill/>
        </p:spPr>
        <p:txBody>
          <a:bodyPr wrap="square" rtlCol="0">
            <a:spAutoFit/>
          </a:bodyPr>
          <a:lstStyle/>
          <a:p>
            <a:pPr algn="ctr"/>
            <a:r>
              <a:rPr lang="en-US" altLang="zh-CN" sz="4500" dirty="0">
                <a:solidFill>
                  <a:schemeClr val="bg1"/>
                </a:solidFill>
                <a:latin typeface="汉仪旗黑X1-95W" panose="00020600040101010101" pitchFamily="18" charset="-122"/>
                <a:ea typeface="汉仪旗黑X1-95W" panose="00020600040101010101" pitchFamily="18" charset="-122"/>
                <a:sym typeface="汉仪旗黑X1-55W" panose="00020600040101010101" pitchFamily="18" charset="-122"/>
              </a:rPr>
              <a:t>02</a:t>
            </a:r>
            <a:endParaRPr lang="zh-CN" altLang="en-US" sz="4500" dirty="0">
              <a:solidFill>
                <a:schemeClr val="bg1"/>
              </a:solidFill>
              <a:latin typeface="汉仪旗黑X1-95W" panose="00020600040101010101" pitchFamily="18" charset="-122"/>
              <a:ea typeface="汉仪旗黑X1-95W" panose="00020600040101010101" pitchFamily="18" charset="-122"/>
              <a:sym typeface="汉仪旗黑X1-55W" panose="00020600040101010101" pitchFamily="18" charset="-122"/>
            </a:endParaRPr>
          </a:p>
        </p:txBody>
      </p:sp>
      <p:sp>
        <p:nvSpPr>
          <p:cNvPr id="1048626" name="Shape5"/>
          <p:cNvSpPr txBox="1"/>
          <p:nvPr/>
        </p:nvSpPr>
        <p:spPr>
          <a:xfrm>
            <a:off x="4622113" y="1599363"/>
            <a:ext cx="2281372" cy="460375"/>
          </a:xfrm>
          <a:prstGeom prst="rect">
            <a:avLst/>
          </a:prstGeom>
          <a:noFill/>
        </p:spPr>
        <p:txBody>
          <a:bodyPr wrap="square" rtlCol="0">
            <a:spAutoFit/>
            <a:scene3d>
              <a:camera prst="orthographicFront"/>
              <a:lightRig rig="threePt" dir="t"/>
            </a:scene3d>
            <a:sp3d contourW="12700"/>
          </a:bodyPr>
          <a:lstStyle/>
          <a:p>
            <a:r>
              <a:rPr lang="zh-CN" altLang="en-US" sz="2400" b="1">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承保公司简介</a:t>
            </a:r>
            <a:endParaRPr lang="zh-CN" altLang="en-US" sz="2400" b="1" dirty="0">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27" name="Shape6"/>
          <p:cNvSpPr/>
          <p:nvPr/>
        </p:nvSpPr>
        <p:spPr>
          <a:xfrm>
            <a:off x="4622113" y="2019640"/>
            <a:ext cx="2700569" cy="333375"/>
          </a:xfrm>
          <a:prstGeom prst="rect">
            <a:avLst/>
          </a:prstGeom>
        </p:spPr>
        <p:txBody>
          <a:bodyPr wrap="square">
            <a:spAutoFit/>
          </a:bodyPr>
          <a:lstStyle/>
          <a:p>
            <a:pPr>
              <a:lnSpc>
                <a:spcPct val="150000"/>
              </a:lnSpc>
            </a:pPr>
            <a:r>
              <a:rPr lang="zh-CN" altLang="en-US" sz="1050" i="1"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鼎和保险</a:t>
            </a:r>
            <a:r>
              <a:rPr lang="en-US" altLang="zh-CN" sz="1050" i="1"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a:t>
            </a:r>
            <a:r>
              <a:rPr lang="zh-CN" altLang="en-US" sz="1050" i="1"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能源行业保险专家</a:t>
            </a:r>
            <a:endParaRPr lang="zh-CN" altLang="en-US" sz="1050" i="1" dirty="0">
              <a:solidFill>
                <a:schemeClr val="bg1">
                  <a:lumMod val="50000"/>
                </a:schemeClr>
              </a:solidFill>
              <a:latin typeface="汉仪旗黑X1-55W" panose="00020600040101010101" pitchFamily="18" charset="-122"/>
              <a:ea typeface="汉仪旗黑X1-55W" panose="00020600040101010101" pitchFamily="18" charset="-122"/>
              <a:sym typeface="汉仪旗黑X1-55W" panose="00020600040101010101" pitchFamily="18" charset="-122"/>
            </a:endParaRPr>
          </a:p>
        </p:txBody>
      </p:sp>
      <p:sp>
        <p:nvSpPr>
          <p:cNvPr id="1048628" name="Shape7"/>
          <p:cNvSpPr txBox="1"/>
          <p:nvPr/>
        </p:nvSpPr>
        <p:spPr>
          <a:xfrm>
            <a:off x="4641562" y="2416932"/>
            <a:ext cx="3195052" cy="694055"/>
          </a:xfrm>
          <a:prstGeom prst="rect">
            <a:avLst/>
          </a:prstGeom>
        </p:spPr>
        <p:txBody>
          <a:bodyPr wrap="square">
            <a:spAutoFit/>
          </a:bodyPr>
          <a:lstStyle>
            <a:defPPr>
              <a:defRPr lang="zh-CN"/>
            </a:defPPr>
            <a:lvl1pPr defTabSz="457200">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marL="171450" indent="-171450">
              <a:lnSpc>
                <a:spcPct val="200000"/>
              </a:lnSpc>
              <a:buFont typeface="Wingdings" panose="05000000000000000000" charset="0"/>
              <a:buChar char="u"/>
            </a:pPr>
            <a:r>
              <a:rPr lang="en-US" altLang="zh-CN" sz="975" b="1" dirty="0">
                <a:solidFill>
                  <a:prstClr val="black"/>
                </a:solidFill>
                <a:latin typeface="微软雅黑" panose="020B0503020204020204" charset="-122"/>
                <a:ea typeface="微软雅黑" panose="020B0503020204020204" charset="-122"/>
                <a:sym typeface="+mn-ea"/>
              </a:rPr>
              <a:t>  </a:t>
            </a:r>
            <a:r>
              <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rPr>
              <a:t>中国南方电网二级子公司</a:t>
            </a:r>
            <a:endPar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endParaRPr>
          </a:p>
          <a:p>
            <a:pPr marL="171450" indent="-171450">
              <a:lnSpc>
                <a:spcPct val="200000"/>
              </a:lnSpc>
              <a:buFont typeface="Wingdings" panose="05000000000000000000" charset="0"/>
              <a:buChar char="u"/>
            </a:pPr>
            <a:r>
              <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汉仪旗黑X1-55W" panose="00020600040101010101" pitchFamily="18" charset="-122"/>
              </a:rPr>
              <a:t> </a:t>
            </a:r>
            <a:r>
              <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rPr>
              <a:t>为超过3万亿能源产业链提供保险服务</a:t>
            </a:r>
            <a:endParaRPr lang="zh-CN" altLang="en-US" sz="975" b="1">
              <a:solidFill>
                <a:schemeClr val="tx1">
                  <a:lumMod val="75000"/>
                  <a:lumOff val="25000"/>
                </a:schemeClr>
              </a:solidFill>
              <a:latin typeface="汉仪旗黑X1-55W" panose="00020600040101010101" pitchFamily="18" charset="-122"/>
              <a:ea typeface="汉仪旗黑X1-55W" panose="00020600040101010101" pitchFamily="18" charset="-122"/>
              <a:sym typeface="+mn-ea"/>
            </a:endParaRPr>
          </a:p>
        </p:txBody>
      </p:sp>
    </p:spTree>
  </p:cSld>
  <p:clrMapOvr>
    <a:masterClrMapping/>
  </p:clrMapOvr>
  <p:timing>
    <p:tnLst>
      <p:par>
        <p:cTn id="1" dur="indefinite" restart="never" nodeType="tmRoot"/>
      </p:par>
    </p:tnLst>
    <p:bldLst>
      <p:bldP spid="1048627" grpId="0"/>
      <p:bldP spid="1048628" grpId="0"/>
    </p:bld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BEAUTIFY_FLAG" val=""/>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BEAUTIFY_FLAG" val=""/>
</p:tagLst>
</file>

<file path=ppt/tags/tag105.xml><?xml version="1.0" encoding="utf-8"?>
<p:tagLst xmlns:p="http://schemas.openxmlformats.org/presentationml/2006/main">
  <p:tag name="KSO_WM_BEAUTIFY_FLAG" val=""/>
</p:tagLst>
</file>

<file path=ppt/tags/tag106.xml><?xml version="1.0" encoding="utf-8"?>
<p:tagLst xmlns:p="http://schemas.openxmlformats.org/presentationml/2006/main">
  <p:tag name="KSO_WM_BEAUTIFY_FLAG" val=""/>
</p:tagLst>
</file>

<file path=ppt/tags/tag107.xml><?xml version="1.0" encoding="utf-8"?>
<p:tagLst xmlns:p="http://schemas.openxmlformats.org/presentationml/2006/main">
  <p:tag name="KSO_WM_BEAUTIFY_FLAG" val=""/>
</p:tagLst>
</file>

<file path=ppt/tags/tag108.xml><?xml version="1.0" encoding="utf-8"?>
<p:tagLst xmlns:p="http://schemas.openxmlformats.org/presentationml/2006/main">
  <p:tag name="KSO_WM_BEAUTIFY_FLAG" val=""/>
</p:tagLst>
</file>

<file path=ppt/tags/tag109.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PA" val="v5.1.2"/>
</p:tagLst>
</file>

<file path=ppt/tags/tag112.xml><?xml version="1.0" encoding="utf-8"?>
<p:tagLst xmlns:p="http://schemas.openxmlformats.org/presentationml/2006/main">
  <p:tag name="PA" val="v5.1.2"/>
</p:tagLst>
</file>

<file path=ppt/tags/tag113.xml><?xml version="1.0" encoding="utf-8"?>
<p:tagLst xmlns:p="http://schemas.openxmlformats.org/presentationml/2006/main">
  <p:tag name="PA" val="v5.1.2"/>
</p:tagLst>
</file>

<file path=ppt/tags/tag114.xml><?xml version="1.0" encoding="utf-8"?>
<p:tagLst xmlns:p="http://schemas.openxmlformats.org/presentationml/2006/main">
  <p:tag name="PA" val="v5.1.2"/>
</p:tagLst>
</file>

<file path=ppt/tags/tag115.xml><?xml version="1.0" encoding="utf-8"?>
<p:tagLst xmlns:p="http://schemas.openxmlformats.org/presentationml/2006/main">
  <p:tag name="PA" val="v5.1.2"/>
</p:tagLst>
</file>

<file path=ppt/tags/tag116.xml><?xml version="1.0" encoding="utf-8"?>
<p:tagLst xmlns:p="http://schemas.openxmlformats.org/presentationml/2006/main">
  <p:tag name="PA" val="v5.1.2"/>
</p:tagLst>
</file>

<file path=ppt/tags/tag117.xml><?xml version="1.0" encoding="utf-8"?>
<p:tagLst xmlns:p="http://schemas.openxmlformats.org/presentationml/2006/main">
  <p:tag name="PA" val="v5.1.2"/>
</p:tagLst>
</file>

<file path=ppt/tags/tag118.xml><?xml version="1.0" encoding="utf-8"?>
<p:tagLst xmlns:p="http://schemas.openxmlformats.org/presentationml/2006/main">
  <p:tag name="PA" val="v5.1.2"/>
</p:tagLst>
</file>

<file path=ppt/tags/tag119.xml><?xml version="1.0" encoding="utf-8"?>
<p:tagLst xmlns:p="http://schemas.openxmlformats.org/presentationml/2006/main">
  <p:tag name="PA" val="v5.1.2"/>
</p:tagLst>
</file>

<file path=ppt/tags/tag12.xml><?xml version="1.0" encoding="utf-8"?>
<p:tagLst xmlns:p="http://schemas.openxmlformats.org/presentationml/2006/main">
  <p:tag name="KSO_WM_BEAUTIFY_FLAG" val=""/>
</p:tagLst>
</file>

<file path=ppt/tags/tag120.xml><?xml version="1.0" encoding="utf-8"?>
<p:tagLst xmlns:p="http://schemas.openxmlformats.org/presentationml/2006/main">
  <p:tag name="PA" val="v5.1.2"/>
</p:tagLst>
</file>

<file path=ppt/tags/tag121.xml><?xml version="1.0" encoding="utf-8"?>
<p:tagLst xmlns:p="http://schemas.openxmlformats.org/presentationml/2006/main">
  <p:tag name="PA" val="v5.1.2"/>
</p:tagLst>
</file>

<file path=ppt/tags/tag122.xml><?xml version="1.0" encoding="utf-8"?>
<p:tagLst xmlns:p="http://schemas.openxmlformats.org/presentationml/2006/main">
  <p:tag name="PA" val="v5.1.2"/>
</p:tagLst>
</file>

<file path=ppt/tags/tag123.xml><?xml version="1.0" encoding="utf-8"?>
<p:tagLst xmlns:p="http://schemas.openxmlformats.org/presentationml/2006/main">
  <p:tag name="PA" val="v5.1.2"/>
</p:tagLst>
</file>

<file path=ppt/tags/tag124.xml><?xml version="1.0" encoding="utf-8"?>
<p:tagLst xmlns:p="http://schemas.openxmlformats.org/presentationml/2006/main">
  <p:tag name="PA" val="v5.1.2"/>
</p:tagLst>
</file>

<file path=ppt/tags/tag125.xml><?xml version="1.0" encoding="utf-8"?>
<p:tagLst xmlns:p="http://schemas.openxmlformats.org/presentationml/2006/main">
  <p:tag name="PA" val="v5.1.2"/>
</p:tagLst>
</file>

<file path=ppt/tags/tag126.xml><?xml version="1.0" encoding="utf-8"?>
<p:tagLst xmlns:p="http://schemas.openxmlformats.org/presentationml/2006/main">
  <p:tag name="PA" val="v5.1.2"/>
</p:tagLst>
</file>

<file path=ppt/tags/tag127.xml><?xml version="1.0" encoding="utf-8"?>
<p:tagLst xmlns:p="http://schemas.openxmlformats.org/presentationml/2006/main">
  <p:tag name="PA" val="v5.1.2"/>
</p:tagLst>
</file>

<file path=ppt/tags/tag128.xml><?xml version="1.0" encoding="utf-8"?>
<p:tagLst xmlns:p="http://schemas.openxmlformats.org/presentationml/2006/main">
  <p:tag name="PA" val="v5.1.2"/>
</p:tagLst>
</file>

<file path=ppt/tags/tag129.xml><?xml version="1.0" encoding="utf-8"?>
<p:tagLst xmlns:p="http://schemas.openxmlformats.org/presentationml/2006/main">
  <p:tag name="PA" val="v5.1.2"/>
</p:tagLst>
</file>

<file path=ppt/tags/tag13.xml><?xml version="1.0" encoding="utf-8"?>
<p:tagLst xmlns:p="http://schemas.openxmlformats.org/presentationml/2006/main">
  <p:tag name="KSO_WM_BEAUTIFY_FLAG" val=""/>
</p:tagLst>
</file>

<file path=ppt/tags/tag130.xml><?xml version="1.0" encoding="utf-8"?>
<p:tagLst xmlns:p="http://schemas.openxmlformats.org/presentationml/2006/main">
  <p:tag name="PA" val="v5.1.2"/>
</p:tagLst>
</file>

<file path=ppt/tags/tag131.xml><?xml version="1.0" encoding="utf-8"?>
<p:tagLst xmlns:p="http://schemas.openxmlformats.org/presentationml/2006/main">
  <p:tag name="PA" val="v5.1.2"/>
</p:tagLst>
</file>

<file path=ppt/tags/tag132.xml><?xml version="1.0" encoding="utf-8"?>
<p:tagLst xmlns:p="http://schemas.openxmlformats.org/presentationml/2006/main">
  <p:tag name="PA" val="v5.1.2"/>
</p:tagLst>
</file>

<file path=ppt/tags/tag133.xml><?xml version="1.0" encoding="utf-8"?>
<p:tagLst xmlns:p="http://schemas.openxmlformats.org/presentationml/2006/main">
  <p:tag name="PA" val="v5.1.2"/>
</p:tagLst>
</file>

<file path=ppt/tags/tag134.xml><?xml version="1.0" encoding="utf-8"?>
<p:tagLst xmlns:p="http://schemas.openxmlformats.org/presentationml/2006/main">
  <p:tag name="PA" val="v5.1.2"/>
</p:tagLst>
</file>

<file path=ppt/tags/tag135.xml><?xml version="1.0" encoding="utf-8"?>
<p:tagLst xmlns:p="http://schemas.openxmlformats.org/presentationml/2006/main">
  <p:tag name="PA" val="v5.1.2"/>
  <p:tag name="KSO_WM_BEAUTIFY_FLAG" val=""/>
</p:tagLst>
</file>

<file path=ppt/tags/tag136.xml><?xml version="1.0" encoding="utf-8"?>
<p:tagLst xmlns:p="http://schemas.openxmlformats.org/presentationml/2006/main">
  <p:tag name="PA" val="v5.1.2"/>
  <p:tag name="KSO_WM_BEAUTIFY_FLAG" val=""/>
</p:tagLst>
</file>

<file path=ppt/tags/tag137.xml><?xml version="1.0" encoding="utf-8"?>
<p:tagLst xmlns:p="http://schemas.openxmlformats.org/presentationml/2006/main">
  <p:tag name="PA" val="v5.1.2"/>
  <p:tag name="KSO_WM_BEAUTIFY_FLAG" val=""/>
</p:tagLst>
</file>

<file path=ppt/tags/tag138.xml><?xml version="1.0" encoding="utf-8"?>
<p:tagLst xmlns:p="http://schemas.openxmlformats.org/presentationml/2006/main">
  <p:tag name="PA" val="v5.1.2"/>
  <p:tag name="KSO_WM_BEAUTIFY_FLAG" val=""/>
</p:tagLst>
</file>

<file path=ppt/tags/tag139.xml><?xml version="1.0" encoding="utf-8"?>
<p:tagLst xmlns:p="http://schemas.openxmlformats.org/presentationml/2006/main">
  <p:tag name="PA" val="v5.1.0"/>
</p:tagLst>
</file>

<file path=ppt/tags/tag14.xml><?xml version="1.0" encoding="utf-8"?>
<p:tagLst xmlns:p="http://schemas.openxmlformats.org/presentationml/2006/main">
  <p:tag name="KSO_WM_BEAUTIFY_FLAG" val=""/>
</p:tagLst>
</file>

<file path=ppt/tags/tag140.xml><?xml version="1.0" encoding="utf-8"?>
<p:tagLst xmlns:p="http://schemas.openxmlformats.org/presentationml/2006/main">
  <p:tag name="PA" val="v5.1.0"/>
</p:tagLst>
</file>

<file path=ppt/tags/tag141.xml><?xml version="1.0" encoding="utf-8"?>
<p:tagLst xmlns:p="http://schemas.openxmlformats.org/presentationml/2006/main">
  <p:tag name="KSO_WM_BEAUTIFY_FLAG" val=""/>
</p:tagLst>
</file>

<file path=ppt/tags/tag142.xml><?xml version="1.0" encoding="utf-8"?>
<p:tagLst xmlns:p="http://schemas.openxmlformats.org/presentationml/2006/main">
  <p:tag name="PA" val="v5.1.0"/>
</p:tagLst>
</file>

<file path=ppt/tags/tag143.xml><?xml version="1.0" encoding="utf-8"?>
<p:tagLst xmlns:p="http://schemas.openxmlformats.org/presentationml/2006/main">
  <p:tag name="PA" val="v5.1.0"/>
</p:tagLst>
</file>

<file path=ppt/tags/tag144.xml><?xml version="1.0" encoding="utf-8"?>
<p:tagLst xmlns:p="http://schemas.openxmlformats.org/presentationml/2006/main">
  <p:tag name="PA" val="v5.1.0"/>
</p:tagLst>
</file>

<file path=ppt/tags/tag145.xml><?xml version="1.0" encoding="utf-8"?>
<p:tagLst xmlns:p="http://schemas.openxmlformats.org/presentationml/2006/main">
  <p:tag name="PA" val="v5.1.0"/>
</p:tagLst>
</file>

<file path=ppt/tags/tag146.xml><?xml version="1.0" encoding="utf-8"?>
<p:tagLst xmlns:p="http://schemas.openxmlformats.org/presentationml/2006/main">
  <p:tag name="PA" val="v5.1.0"/>
</p:tagLst>
</file>

<file path=ppt/tags/tag147.xml><?xml version="1.0" encoding="utf-8"?>
<p:tagLst xmlns:p="http://schemas.openxmlformats.org/presentationml/2006/main">
  <p:tag name="PA" val="v5.1.0"/>
</p:tagLst>
</file>

<file path=ppt/tags/tag148.xml><?xml version="1.0" encoding="utf-8"?>
<p:tagLst xmlns:p="http://schemas.openxmlformats.org/presentationml/2006/main">
  <p:tag name="KSO_WM_BEAUTIFY_FLAG" val=""/>
</p:tagLst>
</file>

<file path=ppt/tags/tag149.xml><?xml version="1.0" encoding="utf-8"?>
<p:tagLst xmlns:p="http://schemas.openxmlformats.org/presentationml/2006/main">
  <p:tag name="KSO_WM_BEAUTIFY_FLAG" val=""/>
</p:tagLst>
</file>

<file path=ppt/tags/tag15.xml><?xml version="1.0" encoding="utf-8"?>
<p:tagLst xmlns:p="http://schemas.openxmlformats.org/presentationml/2006/main">
  <p:tag name="KSO_WM_BEAUTIFY_FLAG" val=""/>
</p:tagLst>
</file>

<file path=ppt/tags/tag150.xml><?xml version="1.0" encoding="utf-8"?>
<p:tagLst xmlns:p="http://schemas.openxmlformats.org/presentationml/2006/main">
  <p:tag name="KSO_WM_BEAUTIFY_FLAG" val=""/>
</p:tagLst>
</file>

<file path=ppt/tags/tag151.xml><?xml version="1.0" encoding="utf-8"?>
<p:tagLst xmlns:p="http://schemas.openxmlformats.org/presentationml/2006/main">
  <p:tag name="KSO_WM_BEAUTIFY_FLAG" val=""/>
</p:tagLst>
</file>

<file path=ppt/tags/tag152.xml><?xml version="1.0" encoding="utf-8"?>
<p:tagLst xmlns:p="http://schemas.openxmlformats.org/presentationml/2006/main">
  <p:tag name="KSO_WM_BEAUTIFY_FLAG" val=""/>
</p:tagLst>
</file>

<file path=ppt/tags/tag153.xml><?xml version="1.0" encoding="utf-8"?>
<p:tagLst xmlns:p="http://schemas.openxmlformats.org/presentationml/2006/main">
  <p:tag name="KSO_WM_BEAUTIFY_FLAG" val=""/>
</p:tagLst>
</file>

<file path=ppt/tags/tag154.xml><?xml version="1.0" encoding="utf-8"?>
<p:tagLst xmlns:p="http://schemas.openxmlformats.org/presentationml/2006/main">
  <p:tag name="KSO_WM_BEAUTIFY_FLAG" val=""/>
</p:tagLst>
</file>

<file path=ppt/tags/tag155.xml><?xml version="1.0" encoding="utf-8"?>
<p:tagLst xmlns:p="http://schemas.openxmlformats.org/presentationml/2006/main">
  <p:tag name="KSO_WM_BEAUTIFY_FLAG" val=""/>
</p:tagLst>
</file>

<file path=ppt/tags/tag156.xml><?xml version="1.0" encoding="utf-8"?>
<p:tagLst xmlns:p="http://schemas.openxmlformats.org/presentationml/2006/main">
  <p:tag name="TABLE_ENDDRAG_ORIGIN_RECT" val="658*205"/>
  <p:tag name="TABLE_ENDDRAG_RECT" val="30*52*658*205"/>
</p:tagLst>
</file>

<file path=ppt/tags/tag157.xml><?xml version="1.0" encoding="utf-8"?>
<p:tagLst xmlns:p="http://schemas.openxmlformats.org/presentationml/2006/main">
  <p:tag name="KSO_WM_BEAUTIFY_FLAG" val=""/>
</p:tagLst>
</file>

<file path=ppt/tags/tag158.xml><?xml version="1.0" encoding="utf-8"?>
<p:tagLst xmlns:p="http://schemas.openxmlformats.org/presentationml/2006/main">
  <p:tag name="KSO_WM_BEAUTIFY_FLAG" val=""/>
</p:tagLst>
</file>

<file path=ppt/tags/tag159.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60.xml><?xml version="1.0" encoding="utf-8"?>
<p:tagLst xmlns:p="http://schemas.openxmlformats.org/presentationml/2006/main">
  <p:tag name="KSO_WM_BEAUTIFY_FLAG" val=""/>
</p:tagLst>
</file>

<file path=ppt/tags/tag161.xml><?xml version="1.0" encoding="utf-8"?>
<p:tagLst xmlns:p="http://schemas.openxmlformats.org/presentationml/2006/main">
  <p:tag name="KSO_WM_BEAUTIFY_FLAG" val=""/>
</p:tagLst>
</file>

<file path=ppt/tags/tag162.xml><?xml version="1.0" encoding="utf-8"?>
<p:tagLst xmlns:p="http://schemas.openxmlformats.org/presentationml/2006/main">
  <p:tag name="KSO_WM_BEAUTIFY_FLAG" val=""/>
</p:tagLst>
</file>

<file path=ppt/tags/tag163.xml><?xml version="1.0" encoding="utf-8"?>
<p:tagLst xmlns:p="http://schemas.openxmlformats.org/presentationml/2006/main">
  <p:tag name="KSO_WM_BEAUTIFY_FLAG" val=""/>
</p:tagLst>
</file>

<file path=ppt/tags/tag164.xml><?xml version="1.0" encoding="utf-8"?>
<p:tagLst xmlns:p="http://schemas.openxmlformats.org/presentationml/2006/main">
  <p:tag name="KSO_WM_BEAUTIFY_FLAG" val=""/>
</p:tagLst>
</file>

<file path=ppt/tags/tag165.xml><?xml version="1.0" encoding="utf-8"?>
<p:tagLst xmlns:p="http://schemas.openxmlformats.org/presentationml/2006/main">
  <p:tag name="KSO_WM_BEAUTIFY_FLAG" val=""/>
</p:tagLst>
</file>

<file path=ppt/tags/tag166.xml><?xml version="1.0" encoding="utf-8"?>
<p:tagLst xmlns:p="http://schemas.openxmlformats.org/presentationml/2006/main">
  <p:tag name="KSO_WM_BEAUTIFY_FLAG" val=""/>
</p:tagLst>
</file>

<file path=ppt/tags/tag167.xml><?xml version="1.0" encoding="utf-8"?>
<p:tagLst xmlns:p="http://schemas.openxmlformats.org/presentationml/2006/main">
  <p:tag name="KSO_WM_BEAUTIFY_FLAG" val=""/>
</p:tagLst>
</file>

<file path=ppt/tags/tag168.xml><?xml version="1.0" encoding="utf-8"?>
<p:tagLst xmlns:p="http://schemas.openxmlformats.org/presentationml/2006/main">
  <p:tag name="KSO_WM_BEAUTIFY_FLAG" val=""/>
</p:tagLst>
</file>

<file path=ppt/tags/tag169.xml><?xml version="1.0" encoding="utf-8"?>
<p:tagLst xmlns:p="http://schemas.openxmlformats.org/presentationml/2006/main">
  <p:tag name="TABLE_ENDDRAG_ORIGIN_RECT" val="664*90"/>
  <p:tag name="TABLE_ENDDRAG_RECT" val="27*54*664*90"/>
</p:tagLst>
</file>

<file path=ppt/tags/tag17.xml><?xml version="1.0" encoding="utf-8"?>
<p:tagLst xmlns:p="http://schemas.openxmlformats.org/presentationml/2006/main">
  <p:tag name="KSO_WM_BEAUTIFY_FLAG" val=""/>
</p:tagLst>
</file>

<file path=ppt/tags/tag170.xml><?xml version="1.0" encoding="utf-8"?>
<p:tagLst xmlns:p="http://schemas.openxmlformats.org/presentationml/2006/main">
  <p:tag name="KSO_WM_BEAUTIFY_FLAG" val=""/>
</p:tagLst>
</file>

<file path=ppt/tags/tag171.xml><?xml version="1.0" encoding="utf-8"?>
<p:tagLst xmlns:p="http://schemas.openxmlformats.org/presentationml/2006/main">
  <p:tag name="KSO_WM_BEAUTIFY_FLAG" val=""/>
</p:tagLst>
</file>

<file path=ppt/tags/tag172.xml><?xml version="1.0" encoding="utf-8"?>
<p:tagLst xmlns:p="http://schemas.openxmlformats.org/presentationml/2006/main">
  <p:tag name="KSO_WM_BEAUTIFY_FLAG" val=""/>
</p:tagLst>
</file>

<file path=ppt/tags/tag173.xml><?xml version="1.0" encoding="utf-8"?>
<p:tagLst xmlns:p="http://schemas.openxmlformats.org/presentationml/2006/main">
  <p:tag name="KSO_WM_BEAUTIFY_FLAG" val=""/>
</p:tagLst>
</file>

<file path=ppt/tags/tag174.xml><?xml version="1.0" encoding="utf-8"?>
<p:tagLst xmlns:p="http://schemas.openxmlformats.org/presentationml/2006/main">
  <p:tag name="KSO_WM_BEAUTIFY_FLAG" val=""/>
</p:tagLst>
</file>

<file path=ppt/tags/tag175.xml><?xml version="1.0" encoding="utf-8"?>
<p:tagLst xmlns:p="http://schemas.openxmlformats.org/presentationml/2006/main">
  <p:tag name="KSO_WM_BEAUTIFY_FLAG" val=""/>
</p:tagLst>
</file>

<file path=ppt/tags/tag176.xml><?xml version="1.0" encoding="utf-8"?>
<p:tagLst xmlns:p="http://schemas.openxmlformats.org/presentationml/2006/main">
  <p:tag name="KSO_WM_BEAUTIFY_FLAG" val=""/>
</p:tagLst>
</file>

<file path=ppt/tags/tag177.xml><?xml version="1.0" encoding="utf-8"?>
<p:tagLst xmlns:p="http://schemas.openxmlformats.org/presentationml/2006/main">
  <p:tag name="KSO_WM_BEAUTIFY_FLAG" val=""/>
</p:tagLst>
</file>

<file path=ppt/tags/tag178.xml><?xml version="1.0" encoding="utf-8"?>
<p:tagLst xmlns:p="http://schemas.openxmlformats.org/presentationml/2006/main">
  <p:tag name="KSO_WM_BEAUTIFY_FLAG" val=""/>
</p:tagLst>
</file>

<file path=ppt/tags/tag179.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80.xml><?xml version="1.0" encoding="utf-8"?>
<p:tagLst xmlns:p="http://schemas.openxmlformats.org/presentationml/2006/main">
  <p:tag name="KSO_WM_BEAUTIFY_FLAG" val=""/>
</p:tagLst>
</file>

<file path=ppt/tags/tag181.xml><?xml version="1.0" encoding="utf-8"?>
<p:tagLst xmlns:p="http://schemas.openxmlformats.org/presentationml/2006/main">
  <p:tag name="KSO_WM_BEAUTIFY_FLAG" val=""/>
</p:tagLst>
</file>

<file path=ppt/tags/tag182.xml><?xml version="1.0" encoding="utf-8"?>
<p:tagLst xmlns:p="http://schemas.openxmlformats.org/presentationml/2006/main">
  <p:tag name="KSO_WM_BEAUTIFY_FLAG" val=""/>
</p:tagLst>
</file>

<file path=ppt/tags/tag183.xml><?xml version="1.0" encoding="utf-8"?>
<p:tagLst xmlns:p="http://schemas.openxmlformats.org/presentationml/2006/main">
  <p:tag name="KSO_WM_BEAUTIFY_FLAG" val=""/>
</p:tagLst>
</file>

<file path=ppt/tags/tag184.xml><?xml version="1.0" encoding="utf-8"?>
<p:tagLst xmlns:p="http://schemas.openxmlformats.org/presentationml/2006/main">
  <p:tag name="PA" val="v5.1.0"/>
</p:tagLst>
</file>

<file path=ppt/tags/tag185.xml><?xml version="1.0" encoding="utf-8"?>
<p:tagLst xmlns:p="http://schemas.openxmlformats.org/presentationml/2006/main">
  <p:tag name="ISLIDE.DIAGRAM" val="67a16b6f-8e63-464e-88e4-f0fb6084a1f0"/>
</p:tagLst>
</file>

<file path=ppt/tags/tag186.xml><?xml version="1.0" encoding="utf-8"?>
<p:tagLst xmlns:p="http://schemas.openxmlformats.org/presentationml/2006/main">
  <p:tag name="KSO_WM_BEAUTIFY_FLAG" val=""/>
</p:tagLst>
</file>

<file path=ppt/tags/tag187.xml><?xml version="1.0" encoding="utf-8"?>
<p:tagLst xmlns:p="http://schemas.openxmlformats.org/presentationml/2006/main">
  <p:tag name="PA" val="v5.1.0"/>
</p:tagLst>
</file>

<file path=ppt/tags/tag188.xml><?xml version="1.0" encoding="utf-8"?>
<p:tagLst xmlns:p="http://schemas.openxmlformats.org/presentationml/2006/main">
  <p:tag name="PA" val="v5.1.0"/>
</p:tagLst>
</file>

<file path=ppt/tags/tag189.xml><?xml version="1.0" encoding="utf-8"?>
<p:tagLst xmlns:p="http://schemas.openxmlformats.org/presentationml/2006/main">
  <p:tag name="PA" val="v5.1.0"/>
</p:tagLst>
</file>

<file path=ppt/tags/tag19.xml><?xml version="1.0" encoding="utf-8"?>
<p:tagLst xmlns:p="http://schemas.openxmlformats.org/presentationml/2006/main">
  <p:tag name="KSO_WM_BEAUTIFY_FLAG" val=""/>
</p:tagLst>
</file>

<file path=ppt/tags/tag190.xml><?xml version="1.0" encoding="utf-8"?>
<p:tagLst xmlns:p="http://schemas.openxmlformats.org/presentationml/2006/main">
  <p:tag name="PA" val="v5.1.0"/>
</p:tagLst>
</file>

<file path=ppt/tags/tag191.xml><?xml version="1.0" encoding="utf-8"?>
<p:tagLst xmlns:p="http://schemas.openxmlformats.org/presentationml/2006/main">
  <p:tag name="PA" val="v5.1.0"/>
</p:tagLst>
</file>

<file path=ppt/tags/tag192.xml><?xml version="1.0" encoding="utf-8"?>
<p:tagLst xmlns:p="http://schemas.openxmlformats.org/presentationml/2006/main">
  <p:tag name="PA" val="v5.1.0"/>
</p:tagLst>
</file>

<file path=ppt/tags/tag193.xml><?xml version="1.0" encoding="utf-8"?>
<p:tagLst xmlns:p="http://schemas.openxmlformats.org/presentationml/2006/main">
  <p:tag name="PA" val="v5.1.0"/>
</p:tagLst>
</file>

<file path=ppt/tags/tag194.xml><?xml version="1.0" encoding="utf-8"?>
<p:tagLst xmlns:p="http://schemas.openxmlformats.org/presentationml/2006/main">
  <p:tag name="PA" val="v5.1.0"/>
</p:tagLst>
</file>

<file path=ppt/tags/tag195.xml><?xml version="1.0" encoding="utf-8"?>
<p:tagLst xmlns:p="http://schemas.openxmlformats.org/presentationml/2006/main">
  <p:tag name="PA" val="v5.1.0"/>
</p:tagLst>
</file>

<file path=ppt/tags/tag196.xml><?xml version="1.0" encoding="utf-8"?>
<p:tagLst xmlns:p="http://schemas.openxmlformats.org/presentationml/2006/main">
  <p:tag name="PA" val="v5.1.0"/>
</p:tagLst>
</file>

<file path=ppt/tags/tag197.xml><?xml version="1.0" encoding="utf-8"?>
<p:tagLst xmlns:p="http://schemas.openxmlformats.org/presentationml/2006/main">
  <p:tag name="PA" val="v5.1.0"/>
</p:tagLst>
</file>

<file path=ppt/tags/tag198.xml><?xml version="1.0" encoding="utf-8"?>
<p:tagLst xmlns:p="http://schemas.openxmlformats.org/presentationml/2006/main">
  <p:tag name="PA" val="v5.1.0"/>
</p:tagLst>
</file>

<file path=ppt/tags/tag199.xml><?xml version="1.0" encoding="utf-8"?>
<p:tagLst xmlns:p="http://schemas.openxmlformats.org/presentationml/2006/main">
  <p:tag name="PA" val="v5.1.0"/>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BEAUTIFY_FLAG" val=""/>
</p:tagLst>
</file>

<file path=ppt/tags/tag200.xml><?xml version="1.0" encoding="utf-8"?>
<p:tagLst xmlns:p="http://schemas.openxmlformats.org/presentationml/2006/main">
  <p:tag name="PA" val="v5.1.0"/>
  <p:tag name="KSO_WM_BEAUTIFY_FLAG" val=""/>
</p:tagLst>
</file>

<file path=ppt/tags/tag201.xml><?xml version="1.0" encoding="utf-8"?>
<p:tagLst xmlns:p="http://schemas.openxmlformats.org/presentationml/2006/main">
  <p:tag name="PA" val="v5.1.0"/>
  <p:tag name="KSO_WM_BEAUTIFY_FLAG" val=""/>
</p:tagLst>
</file>

<file path=ppt/tags/tag202.xml><?xml version="1.0" encoding="utf-8"?>
<p:tagLst xmlns:p="http://schemas.openxmlformats.org/presentationml/2006/main">
  <p:tag name="PA" val="v5.1.0"/>
  <p:tag name="KSO_WM_BEAUTIFY_FLAG" val=""/>
</p:tagLst>
</file>

<file path=ppt/tags/tag203.xml><?xml version="1.0" encoding="utf-8"?>
<p:tagLst xmlns:p="http://schemas.openxmlformats.org/presentationml/2006/main">
  <p:tag name="PA" val="v5.1.0"/>
</p:tagLst>
</file>

<file path=ppt/tags/tag204.xml><?xml version="1.0" encoding="utf-8"?>
<p:tagLst xmlns:p="http://schemas.openxmlformats.org/presentationml/2006/main">
  <p:tag name="PA" val="v5.1.0"/>
</p:tagLst>
</file>

<file path=ppt/tags/tag205.xml><?xml version="1.0" encoding="utf-8"?>
<p:tagLst xmlns:p="http://schemas.openxmlformats.org/presentationml/2006/main">
  <p:tag name="PA" val="v5.1.0"/>
</p:tagLst>
</file>

<file path=ppt/tags/tag206.xml><?xml version="1.0" encoding="utf-8"?>
<p:tagLst xmlns:p="http://schemas.openxmlformats.org/presentationml/2006/main">
  <p:tag name="PA" val="v5.1.0"/>
</p:tagLst>
</file>

<file path=ppt/tags/tag207.xml><?xml version="1.0" encoding="utf-8"?>
<p:tagLst xmlns:p="http://schemas.openxmlformats.org/presentationml/2006/main">
  <p:tag name="PA" val="v5.1.0"/>
</p:tagLst>
</file>

<file path=ppt/tags/tag208.xml><?xml version="1.0" encoding="utf-8"?>
<p:tagLst xmlns:p="http://schemas.openxmlformats.org/presentationml/2006/main">
  <p:tag name="PA" val="v5.1.0"/>
</p:tagLst>
</file>

<file path=ppt/tags/tag209.xml><?xml version="1.0" encoding="utf-8"?>
<p:tagLst xmlns:p="http://schemas.openxmlformats.org/presentationml/2006/main">
  <p:tag name="PA" val="v5.1.0"/>
  <p:tag name="KSO_WM_BEAUTIFY_FLAG" val=""/>
</p:tagLst>
</file>

<file path=ppt/tags/tag21.xml><?xml version="1.0" encoding="utf-8"?>
<p:tagLst xmlns:p="http://schemas.openxmlformats.org/presentationml/2006/main">
  <p:tag name="KSO_WM_BEAUTIFY_FLAG" val=""/>
</p:tagLst>
</file>

<file path=ppt/tags/tag210.xml><?xml version="1.0" encoding="utf-8"?>
<p:tagLst xmlns:p="http://schemas.openxmlformats.org/presentationml/2006/main">
  <p:tag name="PA" val="v5.1.0"/>
  <p:tag name="KSO_WM_BEAUTIFY_FLAG" val=""/>
</p:tagLst>
</file>

<file path=ppt/tags/tag211.xml><?xml version="1.0" encoding="utf-8"?>
<p:tagLst xmlns:p="http://schemas.openxmlformats.org/presentationml/2006/main">
  <p:tag name="PA" val="v5.1.0"/>
  <p:tag name="KSO_WM_BEAUTIFY_FLAG" val=""/>
</p:tagLst>
</file>

<file path=ppt/tags/tag212.xml><?xml version="1.0" encoding="utf-8"?>
<p:tagLst xmlns:p="http://schemas.openxmlformats.org/presentationml/2006/main">
  <p:tag name="PA" val="v5.1.0"/>
  <p:tag name="KSO_WM_BEAUTIFY_FLAG" val=""/>
</p:tagLst>
</file>

<file path=ppt/tags/tag213.xml><?xml version="1.0" encoding="utf-8"?>
<p:tagLst xmlns:p="http://schemas.openxmlformats.org/presentationml/2006/main">
  <p:tag name="PA" val="v5.1.0"/>
  <p:tag name="KSO_WM_BEAUTIFY_FLAG" val=""/>
</p:tagLst>
</file>

<file path=ppt/tags/tag214.xml><?xml version="1.0" encoding="utf-8"?>
<p:tagLst xmlns:p="http://schemas.openxmlformats.org/presentationml/2006/main">
  <p:tag name="PA" val="v5.1.0"/>
  <p:tag name="KSO_WM_BEAUTIFY_FLAG" val=""/>
</p:tagLst>
</file>

<file path=ppt/tags/tag215.xml><?xml version="1.0" encoding="utf-8"?>
<p:tagLst xmlns:p="http://schemas.openxmlformats.org/presentationml/2006/main">
  <p:tag name="PA" val="v5.1.0"/>
</p:tagLst>
</file>

<file path=ppt/tags/tag216.xml><?xml version="1.0" encoding="utf-8"?>
<p:tagLst xmlns:p="http://schemas.openxmlformats.org/presentationml/2006/main">
  <p:tag name="PA" val="v5.1.0"/>
</p:tagLst>
</file>

<file path=ppt/tags/tag217.xml><?xml version="1.0" encoding="utf-8"?>
<p:tagLst xmlns:p="http://schemas.openxmlformats.org/presentationml/2006/main">
  <p:tag name="PA" val="v5.1.0"/>
</p:tagLst>
</file>

<file path=ppt/tags/tag218.xml><?xml version="1.0" encoding="utf-8"?>
<p:tagLst xmlns:p="http://schemas.openxmlformats.org/presentationml/2006/main">
  <p:tag name="KSO_WM_BEAUTIFY_FLAG" val=""/>
</p:tagLst>
</file>

<file path=ppt/tags/tag219.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i"/>
  <p:tag name="KSO_WM_UNIT_INDEX" val="1"/>
  <p:tag name="KSO_WM_UNIT_ID" val="custom20233256_1*i*1"/>
  <p:tag name="KSO_WM_TEMPLATE_CATEGORY" val="custom"/>
  <p:tag name="KSO_WM_TEMPLATE_INDEX" val="20233256"/>
  <p:tag name="KSO_WM_UNIT_LAYERLEVEL" val="1"/>
  <p:tag name="KSO_WM_TAG_VERSION" val="3.0"/>
  <p:tag name="KSO_WM_BEAUTIFY_FLAG" val="#wm#"/>
  <p:tag name="KSO_WM_UNIT_FILL_FORE_SCHEMECOLOR_INDEX" val="2"/>
  <p:tag name="KSO_WM_UNIT_FILL_TYPE" val="1"/>
  <p:tag name="KSO_WM_UNIT_TEXT_FILL_FORE_SCHEMECOLOR_INDEX" val="2"/>
  <p:tag name="KSO_WM_UNIT_TEXT_FILL_TYPE" val="1"/>
  <p:tag name="KSO_WM_UNIT_USESOURCEFORMAT_APPLY" val="1"/>
</p:tagLst>
</file>

<file path=ppt/tags/tag22.xml><?xml version="1.0" encoding="utf-8"?>
<p:tagLst xmlns:p="http://schemas.openxmlformats.org/presentationml/2006/main">
  <p:tag name="KSO_WM_BEAUTIFY_FLAG" val=""/>
</p:tagLst>
</file>

<file path=ppt/tags/tag220.xml><?xml version="1.0" encoding="utf-8"?>
<p:tagLst xmlns:p="http://schemas.openxmlformats.org/presentationml/2006/main">
  <p:tag name="KSO_WM_UNIT_VALUE" val="1226*964"/>
  <p:tag name="KSO_WM_UNIT_HIGHLIGHT" val="0"/>
  <p:tag name="KSO_WM_UNIT_COMPATIBLE" val="0"/>
  <p:tag name="KSO_WM_UNIT_DIAGRAM_ISNUMVISUAL" val="0"/>
  <p:tag name="KSO_WM_UNIT_DIAGRAM_ISREFERUNIT" val="0"/>
  <p:tag name="KSO_WM_DIAGRAM_GROUP_CODE" val="l1-1"/>
  <p:tag name="KSO_WM_UNIT_TYPE" val="d"/>
  <p:tag name="KSO_WM_UNIT_INDEX" val="1"/>
  <p:tag name="KSO_WM_UNIT_ID" val="custom20233256_1*d*1"/>
  <p:tag name="KSO_WM_TEMPLATE_CATEGORY" val="custom"/>
  <p:tag name="KSO_WM_TEMPLATE_INDEX" val="20233256"/>
  <p:tag name="KSO_WM_UNIT_LAYERLEVEL" val="1"/>
  <p:tag name="KSO_WM_TAG_VERSION" val="3.0"/>
  <p:tag name="KSO_WM_BEAUTIFY_FLAG" val="#wm#"/>
  <p:tag name="KSO_WM_UNIT_LINE_FORE_SCHEMECOLOR_INDEX" val="1"/>
  <p:tag name="KSO_WM_UNIT_LINE_FILL_TYPE" val="2"/>
  <p:tag name="KSO_WM_UNIT_USESOURCEFORMAT_APPLY" val="1"/>
</p:tagLst>
</file>

<file path=ppt/tags/tag221.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i"/>
  <p:tag name="KSO_WM_UNIT_INDEX" val="2"/>
  <p:tag name="KSO_WM_UNIT_ID" val="custom20233256_1*i*2"/>
  <p:tag name="KSO_WM_TEMPLATE_CATEGORY" val="custom"/>
  <p:tag name="KSO_WM_TEMPLATE_INDEX" val="20233256"/>
  <p:tag name="KSO_WM_UNIT_LAYERLEVEL" val="1"/>
  <p:tag name="KSO_WM_TAG_VERSION" val="3.0"/>
  <p:tag name="KSO_WM_BEAUTIFY_FLAG" val="#wm#"/>
  <p:tag name="KSO_WM_UNIT_FILL_FORE_SCHEMECOLOR_INDEX" val="2"/>
  <p:tag name="KSO_WM_UNIT_FILL_TYPE" val="1"/>
  <p:tag name="KSO_WM_UNIT_TEXT_FILL_FORE_SCHEMECOLOR_INDEX" val="2"/>
  <p:tag name="KSO_WM_UNIT_TEXT_FILL_TYPE" val="1"/>
  <p:tag name="KSO_WM_UNIT_USESOURCEFORMAT_APPLY" val="1"/>
</p:tagLst>
</file>

<file path=ppt/tags/tag222.xml><?xml version="1.0" encoding="utf-8"?>
<p:tagLst xmlns:p="http://schemas.openxmlformats.org/presentationml/2006/main">
  <p:tag name="KSO_WM_DIAGRAM_VERSION" val="3"/>
  <p:tag name="KSO_WM_DIAGRAM_COLOR_TRICK" val="1"/>
  <p:tag name="KSO_WM_DIAGRAM_COLOR_TEXT_CAN_REMOVE" val="n"/>
  <p:tag name="KSO_WM_UNIT_HIGHLIGHT" val="0"/>
  <p:tag name="KSO_WM_UNIT_COMPATIBLE" val="0"/>
  <p:tag name="KSO_WM_UNIT_DIAGRAM_ISNUMVISUAL" val="0"/>
  <p:tag name="KSO_WM_UNIT_DIAGRAM_ISREFERUNIT" val="0"/>
  <p:tag name="KSO_WM_DIAGRAM_GROUP_CODE" val="l1-1"/>
  <p:tag name="KSO_WM_UNIT_TYPE" val="l_h_i"/>
  <p:tag name="KSO_WM_UNIT_INDEX" val="1_1_1"/>
  <p:tag name="KSO_WM_UNIT_ID" val="diagram20233519_1*l_h_i*1_1_1"/>
  <p:tag name="KSO_WM_TEMPLATE_CATEGORY" val="diagram"/>
  <p:tag name="KSO_WM_TEMPLATE_INDEX" val="20233519"/>
  <p:tag name="KSO_WM_UNIT_LAYERLEVEL" val="1_1_1"/>
  <p:tag name="KSO_WM_TAG_VERSION" val="3.0"/>
  <p:tag name="KSO_WM_UNIT_FILL_TYPE" val="1"/>
  <p:tag name="KSO_WM_UNIT_FILL_FORE_SCHEMECOLOR_INDEX" val="5"/>
  <p:tag name="KSO_WM_UNIT_FILL_FORE_SCHEMECOLOR_INDEX_BRIGHTNESS" val="0"/>
  <p:tag name="KSO_WM_DIAGRAM_MAX_ITEMCNT" val="3"/>
  <p:tag name="KSO_WM_DIAGRAM_MIN_ITEMCNT" val="2"/>
  <p:tag name="KSO_WM_DIAGRAM_VIRTUALLY_FRAME" val="{&quot;height&quot;:356.8699951171875,&quot;left&quot;:62.51870833269254,&quot;top&quot;:128.67189220518577,&quot;width&quot;:298.09722900390625}"/>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2"/>
  <p:tag name="KSO_WM_UNIT_TEXT_FILL_TYPE" val="1"/>
  <p:tag name="KSO_WM_UNIT_USESOURCEFORMAT_APPLY" val="1"/>
</p:tagLst>
</file>

<file path=ppt/tags/tag223.xml><?xml version="1.0" encoding="utf-8"?>
<p:tagLst xmlns:p="http://schemas.openxmlformats.org/presentationml/2006/main">
  <p:tag name="KSO_WM_DIAGRAM_VERSION" val="3"/>
  <p:tag name="KSO_WM_DIAGRAM_COLOR_TRICK" val="1"/>
  <p:tag name="KSO_WM_DIAGRAM_COLOR_TEXT_CAN_REMOVE" val="n"/>
  <p:tag name="KSO_WM_UNIT_SUBTYPE" val="a"/>
  <p:tag name="KSO_WM_UNIT_NOCLEAR" val="0"/>
  <p:tag name="KSO_WM_UNIT_VALUE" val="11"/>
  <p:tag name="KSO_WM_UNIT_HIGHLIGHT" val="0"/>
  <p:tag name="KSO_WM_UNIT_COMPATIBLE" val="0"/>
  <p:tag name="KSO_WM_UNIT_DIAGRAM_ISNUMVISUAL" val="0"/>
  <p:tag name="KSO_WM_UNIT_DIAGRAM_ISREFERUNIT" val="0"/>
  <p:tag name="KSO_WM_DIAGRAM_GROUP_CODE" val="l1-1"/>
  <p:tag name="KSO_WM_UNIT_TYPE" val="l_h_f"/>
  <p:tag name="KSO_WM_UNIT_INDEX" val="1_1_1"/>
  <p:tag name="KSO_WM_UNIT_ID" val="diagram20233519_1*l_h_f*1_1_1"/>
  <p:tag name="KSO_WM_TEMPLATE_CATEGORY" val="diagram"/>
  <p:tag name="KSO_WM_TEMPLATE_INDEX" val="20233519"/>
  <p:tag name="KSO_WM_UNIT_LAYERLEVEL" val="1_1_1"/>
  <p:tag name="KSO_WM_TAG_VERSION" val="3.0"/>
  <p:tag name="KSO_WM_UNIT_PRESET_TEXT" val="单击此处输入您的项正文"/>
  <p:tag name="KSO_WM_UNIT_TEXT_FILL_FORE_SCHEMECOLOR_INDEX" val="1"/>
  <p:tag name="KSO_WM_UNIT_TEXT_FILL_TYPE" val="1"/>
  <p:tag name="KSO_WM_DIAGRAM_MAX_ITEMCNT" val="3"/>
  <p:tag name="KSO_WM_DIAGRAM_MIN_ITEMCNT" val="2"/>
  <p:tag name="KSO_WM_DIAGRAM_VIRTUALLY_FRAME" val="{&quot;height&quot;:356.8699951171875,&quot;left&quot;:62.51870833269254,&quot;top&quot;:128.67189220518577,&quot;width&quot;:298.0972290039062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USESOURCEFORMAT_APPLY" val="1"/>
</p:tagLst>
</file>

<file path=ppt/tags/tag224.xml><?xml version="1.0" encoding="utf-8"?>
<p:tagLst xmlns:p="http://schemas.openxmlformats.org/presentationml/2006/main">
  <p:tag name="KSO_WM_DIAGRAM_VERSION" val="3"/>
  <p:tag name="KSO_WM_DIAGRAM_COLOR_TRICK" val="1"/>
  <p:tag name="KSO_WM_DIAGRAM_COLOR_TEXT_CAN_REMOVE" val="n"/>
  <p:tag name="KSO_WM_UNIT_HIGHLIGHT" val="0"/>
  <p:tag name="KSO_WM_UNIT_COMPATIBLE" val="0"/>
  <p:tag name="KSO_WM_UNIT_DIAGRAM_ISNUMVISUAL" val="0"/>
  <p:tag name="KSO_WM_UNIT_DIAGRAM_ISREFERUNIT" val="0"/>
  <p:tag name="KSO_WM_DIAGRAM_GROUP_CODE" val="l1-1"/>
  <p:tag name="KSO_WM_UNIT_TYPE" val="l_h_i"/>
  <p:tag name="KSO_WM_UNIT_INDEX" val="1_2_1"/>
  <p:tag name="KSO_WM_UNIT_ID" val="diagram20233519_1*l_h_i*1_2_1"/>
  <p:tag name="KSO_WM_TEMPLATE_CATEGORY" val="diagram"/>
  <p:tag name="KSO_WM_TEMPLATE_INDEX" val="20233519"/>
  <p:tag name="KSO_WM_UNIT_LAYERLEVEL" val="1_1_1"/>
  <p:tag name="KSO_WM_TAG_VERSION" val="3.0"/>
  <p:tag name="KSO_WM_UNIT_LINE_FORE_SCHEMECOLOR_INDEX" val="5"/>
  <p:tag name="KSO_WM_DIAGRAM_MAX_ITEMCNT" val="3"/>
  <p:tag name="KSO_WM_DIAGRAM_MIN_ITEMCNT" val="2"/>
  <p:tag name="KSO_WM_DIAGRAM_VIRTUALLY_FRAME" val="{&quot;height&quot;:356.8699951171875,&quot;left&quot;:62.51870833269254,&quot;top&quot;:128.67189220518577,&quot;width&quot;:298.09722900390625}"/>
  <p:tag name="KSO_WM_DIAGRAM_COLOR_MATCH_VALUE" val="{&quot;shape&quot;:{&quot;fill&quot;:{&quot;type&quot;:0},&quot;glow&quot;:{&quot;colorType&quot;:0},&quot;line&quot;:{&quot;solidLine&quot;:{&quot;brightness&quot;:0,&quot;colorType&quot;:1,&quot;foreColorIndex&quot;:5,&quot;transparency&quot;:0.5},&quot;type&quot;:1},&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LINE_FILL_TYPE" val="2"/>
  <p:tag name="KSO_WM_UNIT_TEXT_FILL_FORE_SCHEMECOLOR_INDEX" val="2"/>
  <p:tag name="KSO_WM_UNIT_TEXT_FILL_TYPE" val="1"/>
  <p:tag name="KSO_WM_UNIT_USESOURCEFORMAT_APPLY" val="1"/>
</p:tagLst>
</file>

<file path=ppt/tags/tag225.xml><?xml version="1.0" encoding="utf-8"?>
<p:tagLst xmlns:p="http://schemas.openxmlformats.org/presentationml/2006/main">
  <p:tag name="KSO_WM_DIAGRAM_VERSION" val="3"/>
  <p:tag name="KSO_WM_DIAGRAM_COLOR_TRICK" val="1"/>
  <p:tag name="KSO_WM_DIAGRAM_COLOR_TEXT_CAN_REMOVE" val="n"/>
  <p:tag name="KSO_WM_UNIT_ISCONTENTSTITLE" val="0"/>
  <p:tag name="KSO_WM_UNIT_ISNUMDGMTITLE" val="0"/>
  <p:tag name="KSO_WM_UNIT_NOCLEAR" val="0"/>
  <p:tag name="KSO_WM_UNIT_HIGHLIGHT" val="0"/>
  <p:tag name="KSO_WM_UNIT_COMPATIBLE" val="0"/>
  <p:tag name="KSO_WM_UNIT_DIAGRAM_ISNUMVISUAL" val="0"/>
  <p:tag name="KSO_WM_UNIT_DIAGRAM_ISREFERUNIT" val="0"/>
  <p:tag name="KSO_WM_DIAGRAM_GROUP_CODE" val="l1-1"/>
  <p:tag name="KSO_WM_UNIT_TYPE" val="l_h_a"/>
  <p:tag name="KSO_WM_UNIT_INDEX" val="1_2_1"/>
  <p:tag name="KSO_WM_UNIT_ID" val="diagram20233519_1*l_h_a*1_2_1"/>
  <p:tag name="KSO_WM_TEMPLATE_CATEGORY" val="diagram"/>
  <p:tag name="KSO_WM_TEMPLATE_INDEX" val="20233519"/>
  <p:tag name="KSO_WM_UNIT_LAYERLEVEL" val="1_1_1"/>
  <p:tag name="KSO_WM_TAG_VERSION" val="3.0"/>
  <p:tag name="KSO_WM_UNIT_PRESET_TEXT" val="单击添加项标题"/>
  <p:tag name="KSO_WM_UNIT_TEXT_FILL_FORE_SCHEMECOLOR_INDEX" val="1"/>
  <p:tag name="KSO_WM_UNIT_TEXT_FILL_TYPE" val="1"/>
  <p:tag name="KSO_WM_DIAGRAM_MAX_ITEMCNT" val="3"/>
  <p:tag name="KSO_WM_DIAGRAM_MIN_ITEMCNT" val="2"/>
  <p:tag name="KSO_WM_DIAGRAM_VIRTUALLY_FRAME" val="{&quot;height&quot;:356.8699951171875,&quot;left&quot;:62.51870833269254,&quot;top&quot;:128.67189220518577,&quot;width&quot;:298.09722900390625}"/>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VALUE" val="9"/>
  <p:tag name="KSO_WM_UNIT_USESOURCEFORMAT_APPLY" val="1"/>
</p:tagLst>
</file>

<file path=ppt/tags/tag226.xml><?xml version="1.0" encoding="utf-8"?>
<p:tagLst xmlns:p="http://schemas.openxmlformats.org/presentationml/2006/main">
  <p:tag name="THINKCELLSHAPEDONOTDELETE" val="thinkcellActiveDocDoNotDelete"/>
</p:tagLst>
</file>

<file path=ppt/tags/tag227.xml><?xml version="1.0" encoding="utf-8"?>
<p:tagLst xmlns:p="http://schemas.openxmlformats.org/presentationml/2006/main">
  <p:tag name="COMMONDATA" val="eyJoZGlkIjoiYTc3ZTgxYjJjNDdhNGY3MWM5Yjc2YjM5NGYxNmQzMWQifQ=="/>
  <p:tag name="TSCLIENT" val="True"/>
  <p:tag name="MTBTACCENT" val="Accent1ColorBoldText"/>
  <p:tag name="THINKCELLUNDODONOTDELETE" val="0"/>
  <p:tag name="commondata" val="eyJoZGlkIjoiNDk2OWQzZTBhMzgzYjFmZTk5YTk0OWVjMzBjNGIyOGQifQ=="/>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4.xml><?xml version="1.0" encoding="utf-8"?>
<p:tagLst xmlns:p="http://schemas.openxmlformats.org/presentationml/2006/main">
  <p:tag name="KSO_WM_BEAUTIFY_FLAG" val=""/>
</p:tagLst>
</file>

<file path=ppt/tags/tag40.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5.xml><?xml version="1.0" encoding="utf-8"?>
<p:tagLst xmlns:p="http://schemas.openxmlformats.org/presentationml/2006/main">
  <p:tag name="KSO_WM_BEAUTIFY_FLAG" val=""/>
</p:tagLst>
</file>

<file path=ppt/tags/tag46.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50.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60.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Lst>
</file>

<file path=ppt/tags/tag62.xml><?xml version="1.0" encoding="utf-8"?>
<p:tagLst xmlns:p="http://schemas.openxmlformats.org/presentationml/2006/main">
  <p:tag name="KSO_WM_BEAUTIFY_FLAG" val=""/>
</p:tagLst>
</file>

<file path=ppt/tags/tag63.xml><?xml version="1.0" encoding="utf-8"?>
<p:tagLst xmlns:p="http://schemas.openxmlformats.org/presentationml/2006/main">
  <p:tag name="KSO_WM_BEAUTIFY_FLAG" val=""/>
</p:tagLst>
</file>

<file path=ppt/tags/tag64.xml><?xml version="1.0" encoding="utf-8"?>
<p:tagLst xmlns:p="http://schemas.openxmlformats.org/presentationml/2006/main">
  <p:tag name="KSO_WM_BEAUTIFY_FLAG" val=""/>
</p:tagLst>
</file>

<file path=ppt/tags/tag65.xml><?xml version="1.0" encoding="utf-8"?>
<p:tagLst xmlns:p="http://schemas.openxmlformats.org/presentationml/2006/main">
  <p:tag name="KSO_WM_BEAUTIFY_FLAG" val=""/>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
</p:tagLst>
</file>

<file path=ppt/tags/tag68.xml><?xml version="1.0" encoding="utf-8"?>
<p:tagLst xmlns:p="http://schemas.openxmlformats.org/presentationml/2006/main">
  <p:tag name="KSO_WM_BEAUTIFY_FLAG" val=""/>
</p:tagLst>
</file>

<file path=ppt/tags/tag69.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70.xml><?xml version="1.0" encoding="utf-8"?>
<p:tagLst xmlns:p="http://schemas.openxmlformats.org/presentationml/2006/main">
  <p:tag name="KSO_WM_BEAUTIFY_FLAG" val=""/>
</p:tagLst>
</file>

<file path=ppt/tags/tag71.xml><?xml version="1.0" encoding="utf-8"?>
<p:tagLst xmlns:p="http://schemas.openxmlformats.org/presentationml/2006/main">
  <p:tag name="KSO_WM_BEAUTIFY_FLAG" val=""/>
</p:tagLst>
</file>

<file path=ppt/tags/tag72.xml><?xml version="1.0" encoding="utf-8"?>
<p:tagLst xmlns:p="http://schemas.openxmlformats.org/presentationml/2006/main">
  <p:tag name="KSO_WM_BEAUTIFY_FLAG" val=""/>
</p:tagLst>
</file>

<file path=ppt/tags/tag73.xml><?xml version="1.0" encoding="utf-8"?>
<p:tagLst xmlns:p="http://schemas.openxmlformats.org/presentationml/2006/main">
  <p:tag name="KSO_WM_BEAUTIFY_FLAG" val=""/>
</p:tagLst>
</file>

<file path=ppt/tags/tag74.xml><?xml version="1.0" encoding="utf-8"?>
<p:tagLst xmlns:p="http://schemas.openxmlformats.org/presentationml/2006/main">
  <p:tag name="KSO_WM_BEAUTIFY_FLAG" val=""/>
</p:tagLst>
</file>

<file path=ppt/tags/tag75.xml><?xml version="1.0" encoding="utf-8"?>
<p:tagLst xmlns:p="http://schemas.openxmlformats.org/presentationml/2006/main">
  <p:tag name="KSO_WM_BEAUTIFY_FLAG" val=""/>
</p:tagLst>
</file>

<file path=ppt/tags/tag76.xml><?xml version="1.0" encoding="utf-8"?>
<p:tagLst xmlns:p="http://schemas.openxmlformats.org/presentationml/2006/main">
  <p:tag name="KSO_WM_BEAUTIFY_FLAG" val=""/>
</p:tagLst>
</file>

<file path=ppt/tags/tag77.xml><?xml version="1.0" encoding="utf-8"?>
<p:tagLst xmlns:p="http://schemas.openxmlformats.org/presentationml/2006/main">
  <p:tag name="KSO_WM_BEAUTIFY_FLAG" val=""/>
</p:tagLst>
</file>

<file path=ppt/tags/tag78.xml><?xml version="1.0" encoding="utf-8"?>
<p:tagLst xmlns:p="http://schemas.openxmlformats.org/presentationml/2006/main">
  <p:tag name="KSO_WM_BEAUTIFY_FLAG" val=""/>
</p:tagLst>
</file>

<file path=ppt/tags/tag79.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80.xml><?xml version="1.0" encoding="utf-8"?>
<p:tagLst xmlns:p="http://schemas.openxmlformats.org/presentationml/2006/main">
  <p:tag name="KSO_WM_BEAUTIFY_FLAG" val=""/>
</p:tagLst>
</file>

<file path=ppt/tags/tag81.xml><?xml version="1.0" encoding="utf-8"?>
<p:tagLst xmlns:p="http://schemas.openxmlformats.org/presentationml/2006/main">
  <p:tag name="KSO_WM_BEAUTIFY_FLAG" val=""/>
</p:tagLst>
</file>

<file path=ppt/tags/tag82.xml><?xml version="1.0" encoding="utf-8"?>
<p:tagLst xmlns:p="http://schemas.openxmlformats.org/presentationml/2006/main">
  <p:tag name="KSO_WM_BEAUTIFY_FLAG" val=""/>
</p:tagLst>
</file>

<file path=ppt/tags/tag83.xml><?xml version="1.0" encoding="utf-8"?>
<p:tagLst xmlns:p="http://schemas.openxmlformats.org/presentationml/2006/main">
  <p:tag name="KSO_WM_BEAUTIFY_FLAG" val=""/>
</p:tagLst>
</file>

<file path=ppt/tags/tag84.xml><?xml version="1.0" encoding="utf-8"?>
<p:tagLst xmlns:p="http://schemas.openxmlformats.org/presentationml/2006/main">
  <p:tag name="KSO_WM_BEAUTIFY_FLAG" val=""/>
</p:tagLst>
</file>

<file path=ppt/tags/tag85.xml><?xml version="1.0" encoding="utf-8"?>
<p:tagLst xmlns:p="http://schemas.openxmlformats.org/presentationml/2006/main">
  <p:tag name="KSO_WM_BEAUTIFY_FLAG" val=""/>
</p:tagLst>
</file>

<file path=ppt/tags/tag86.xml><?xml version="1.0" encoding="utf-8"?>
<p:tagLst xmlns:p="http://schemas.openxmlformats.org/presentationml/2006/main">
  <p:tag name="KSO_WM_BEAUTIFY_FLAG" val=""/>
</p:tagLst>
</file>

<file path=ppt/tags/tag87.xml><?xml version="1.0" encoding="utf-8"?>
<p:tagLst xmlns:p="http://schemas.openxmlformats.org/presentationml/2006/main">
  <p:tag name="KSO_WM_BEAUTIFY_FLAG" val=""/>
</p:tagLst>
</file>

<file path=ppt/tags/tag88.xml><?xml version="1.0" encoding="utf-8"?>
<p:tagLst xmlns:p="http://schemas.openxmlformats.org/presentationml/2006/main">
  <p:tag name="KSO_WM_BEAUTIFY_FLAG" val=""/>
</p:tagLst>
</file>

<file path=ppt/tags/tag89.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ags/tag90.xml><?xml version="1.0" encoding="utf-8"?>
<p:tagLst xmlns:p="http://schemas.openxmlformats.org/presentationml/2006/main">
  <p:tag name="KSO_WM_BEAUTIFY_FLAG" val=""/>
</p:tagLst>
</file>

<file path=ppt/tags/tag91.xml><?xml version="1.0" encoding="utf-8"?>
<p:tagLst xmlns:p="http://schemas.openxmlformats.org/presentationml/2006/main">
  <p:tag name="KSO_WM_BEAUTIFY_FLAG" val=""/>
</p:tagLst>
</file>

<file path=ppt/tags/tag92.xml><?xml version="1.0" encoding="utf-8"?>
<p:tagLst xmlns:p="http://schemas.openxmlformats.org/presentationml/2006/main">
  <p:tag name="KSO_WM_BEAUTIFY_FLAG" val=""/>
</p:tagLst>
</file>

<file path=ppt/tags/tag93.xml><?xml version="1.0" encoding="utf-8"?>
<p:tagLst xmlns:p="http://schemas.openxmlformats.org/presentationml/2006/main">
  <p:tag name="KSO_WM_BEAUTIFY_FLAG" val=""/>
</p:tagLst>
</file>

<file path=ppt/tags/tag94.xml><?xml version="1.0" encoding="utf-8"?>
<p:tagLst xmlns:p="http://schemas.openxmlformats.org/presentationml/2006/main">
  <p:tag name="KSO_WM_BEAUTIFY_FLAG" val=""/>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BEAUTIFY_FLAG" val=""/>
</p:tagLst>
</file>

<file path=ppt/tags/tag97.xml><?xml version="1.0" encoding="utf-8"?>
<p:tagLst xmlns:p="http://schemas.openxmlformats.org/presentationml/2006/main">
  <p:tag name="KSO_WM_BEAUTIFY_FLAG" val=""/>
</p:tagLst>
</file>

<file path=ppt/tags/tag98.xml><?xml version="1.0" encoding="utf-8"?>
<p:tagLst xmlns:p="http://schemas.openxmlformats.org/presentationml/2006/main">
  <p:tag name="KSO_WM_BEAUTIFY_FLAG" val=""/>
</p:tagLst>
</file>

<file path=ppt/tags/tag99.xml><?xml version="1.0" encoding="utf-8"?>
<p:tagLst xmlns:p="http://schemas.openxmlformats.org/presentationml/2006/main">
  <p:tag name="KSO_WM_BEAUTIFY_FLAG" val=""/>
</p:tagLst>
</file>

<file path=ppt/theme/theme1.xml><?xml version="1.0" encoding="utf-8"?>
<a:theme xmlns:a="http://schemas.openxmlformats.org/drawingml/2006/main" name="1_Office 主题">
  <a:themeElements>
    <a:clrScheme name="Custom 1">
      <a:dk1>
        <a:sysClr val="windowText" lastClr="000000"/>
      </a:dk1>
      <a:lt1>
        <a:sysClr val="window" lastClr="FFFFFF"/>
      </a:lt1>
      <a:dk2>
        <a:srgbClr val="505046"/>
      </a:dk2>
      <a:lt2>
        <a:srgbClr val="FFFFFF"/>
      </a:lt2>
      <a:accent1>
        <a:srgbClr val="C70008"/>
      </a:accent1>
      <a:accent2>
        <a:srgbClr val="FFBD47"/>
      </a:accent2>
      <a:accent3>
        <a:srgbClr val="900000"/>
      </a:accent3>
      <a:accent4>
        <a:srgbClr val="888888"/>
      </a:accent4>
      <a:accent5>
        <a:srgbClr val="BFBFBF"/>
      </a:accent5>
      <a:accent6>
        <a:srgbClr val="B22600"/>
      </a:accent6>
      <a:hlink>
        <a:srgbClr val="CC9900"/>
      </a:hlink>
      <a:folHlink>
        <a:srgbClr val="666699"/>
      </a:folHlink>
    </a:clrScheme>
    <a:fontScheme name="Custom 1">
      <a:majorFont>
        <a:latin typeface="汉仪旗黑-85S"/>
        <a:ea typeface="汉仪旗黑-85S"/>
        <a:cs typeface=""/>
      </a:majorFont>
      <a:minorFont>
        <a:latin typeface="汉仪旗黑-85S"/>
        <a:ea typeface="汉仪旗黑-85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主题​​">
  <a:themeElements>
    <a:clrScheme name="Custom 1">
      <a:dk1>
        <a:sysClr val="windowText" lastClr="000000"/>
      </a:dk1>
      <a:lt1>
        <a:sysClr val="window" lastClr="FFFFFF"/>
      </a:lt1>
      <a:dk2>
        <a:srgbClr val="505046"/>
      </a:dk2>
      <a:lt2>
        <a:srgbClr val="FFFFFF"/>
      </a:lt2>
      <a:accent1>
        <a:srgbClr val="C70008"/>
      </a:accent1>
      <a:accent2>
        <a:srgbClr val="FFBD47"/>
      </a:accent2>
      <a:accent3>
        <a:srgbClr val="900000"/>
      </a:accent3>
      <a:accent4>
        <a:srgbClr val="888888"/>
      </a:accent4>
      <a:accent5>
        <a:srgbClr val="BFBFBF"/>
      </a:accent5>
      <a:accent6>
        <a:srgbClr val="B22600"/>
      </a:accent6>
      <a:hlink>
        <a:srgbClr val="CC9900"/>
      </a:hlink>
      <a:folHlink>
        <a:srgbClr val="666699"/>
      </a:folHlink>
    </a:clrScheme>
    <a:fontScheme name="">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3C1DA"/>
      </a:accent5>
      <a:accent6>
        <a:srgbClr val="AC4744"/>
      </a:accent6>
      <a:hlink>
        <a:srgbClr val="0000FF"/>
      </a:hlink>
      <a:folHlink>
        <a:srgbClr val="800080"/>
      </a:folHlink>
    </a:clrScheme>
    <a:fontScheme name="Cambria-Calibri">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atMod val="350000"/>
                <a:shade val="99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049</Words>
  <Application>WPS 演示</Application>
  <PresentationFormat>On-screen Show (16:9)</PresentationFormat>
  <Paragraphs>684</Paragraphs>
  <Slides>30</Slides>
  <Notes>0</Notes>
  <HiddenSlides>0</HiddenSlides>
  <MMClips>0</MMClips>
  <ScaleCrop>false</ScaleCrop>
  <HeadingPairs>
    <vt:vector size="8" baseType="variant">
      <vt:variant>
        <vt:lpstr>已用的字体</vt:lpstr>
      </vt:variant>
      <vt:variant>
        <vt:i4>21</vt:i4>
      </vt:variant>
      <vt:variant>
        <vt:lpstr>主题</vt:lpstr>
      </vt:variant>
      <vt:variant>
        <vt:i4>2</vt:i4>
      </vt:variant>
      <vt:variant>
        <vt:lpstr>嵌入 OLE 服务器</vt:lpstr>
      </vt:variant>
      <vt:variant>
        <vt:i4>4</vt:i4>
      </vt:variant>
      <vt:variant>
        <vt:lpstr>幻灯片标题</vt:lpstr>
      </vt:variant>
      <vt:variant>
        <vt:i4>30</vt:i4>
      </vt:variant>
    </vt:vector>
  </HeadingPairs>
  <TitlesOfParts>
    <vt:vector size="57" baseType="lpstr">
      <vt:lpstr>Arial</vt:lpstr>
      <vt:lpstr>宋体</vt:lpstr>
      <vt:lpstr>Wingdings</vt:lpstr>
      <vt:lpstr>Calibri</vt:lpstr>
      <vt:lpstr>微软雅黑</vt:lpstr>
      <vt:lpstr>微软雅黑 Light</vt:lpstr>
      <vt:lpstr>Times New Roman</vt:lpstr>
      <vt:lpstr>汉仪旗黑X1-55W</vt:lpstr>
      <vt:lpstr>黑体</vt:lpstr>
      <vt:lpstr>阿里巴巴普惠体 M</vt:lpstr>
      <vt:lpstr>汉仪润圆-65简</vt:lpstr>
      <vt:lpstr>Helvetica Neue Medium</vt:lpstr>
      <vt:lpstr>汉仪旗黑X1-95W</vt:lpstr>
      <vt:lpstr>Source Han Sans CN Normal</vt:lpstr>
      <vt:lpstr>Wingdings</vt:lpstr>
      <vt:lpstr>汉仪旗黑-85S</vt:lpstr>
      <vt:lpstr>Arial Unicode MS</vt:lpstr>
      <vt:lpstr>汉仪旗黑X1-75W</vt:lpstr>
      <vt:lpstr>Alibaba PuHuiTi</vt:lpstr>
      <vt:lpstr>Yu Gothic UI Semilight</vt:lpstr>
      <vt:lpstr>Wingdings 2</vt:lpstr>
      <vt:lpstr>1_Office 主题</vt:lpstr>
      <vt:lpstr>2_Office 主题​​</vt:lpstr>
      <vt:lpstr>TCLayout.ActiveDocument.1</vt:lpstr>
      <vt:lpstr>TCLayout.ActiveDocument.1</vt:lpstr>
      <vt:lpstr>TCLayout.ActiveDocument.1</vt:lpstr>
      <vt:lpstr>TCLayout.ActiveDocument.1</vt:lpstr>
      <vt:lpstr>东方大地液化储配站 保险项目介绍</vt:lpstr>
      <vt:lpstr>PowerPoint 演示文稿</vt:lpstr>
      <vt:lpstr>PowerPoint 演示文稿</vt:lpstr>
      <vt:lpstr>公司简介</vt:lpstr>
      <vt:lpstr>公司简介</vt:lpstr>
      <vt:lpstr>公司简介</vt:lpstr>
      <vt:lpstr>核心能力</vt:lpstr>
      <vt:lpstr>重点项目</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谢谢</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pple Apple</dc:creator>
  <cp:lastModifiedBy>超神のWQYN</cp:lastModifiedBy>
  <cp:revision>834</cp:revision>
  <cp:lastPrinted>2023-12-11T13:40:00Z</cp:lastPrinted>
  <dcterms:created xsi:type="dcterms:W3CDTF">2023-12-11T13:40:00Z</dcterms:created>
  <dcterms:modified xsi:type="dcterms:W3CDTF">2024-09-18T02:4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8240</vt:lpwstr>
  </property>
  <property fmtid="{D5CDD505-2E9C-101B-9397-08002B2CF9AE}" pid="3" name="KSORubyTemplateID">
    <vt:lpwstr>2</vt:lpwstr>
  </property>
  <property fmtid="{D5CDD505-2E9C-101B-9397-08002B2CF9AE}" pid="4" name="ICV">
    <vt:lpwstr>28D6DE8C76964601898E316CC4BA476C_12</vt:lpwstr>
  </property>
</Properties>
</file>